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autoCompressPictures="0">
  <p:sldMasterIdLst>
    <p:sldMasterId id="2147483648" r:id="rId1"/>
  </p:sldMasterIdLst>
  <p:notesMasterIdLst>
    <p:notesMasterId r:id="rId26"/>
  </p:notesMasterIdLst>
  <p:sldIdLst>
    <p:sldId id="256" r:id="rId2"/>
    <p:sldId id="257" r:id="rId3"/>
    <p:sldId id="259" r:id="rId4"/>
    <p:sldId id="260" r:id="rId5"/>
    <p:sldId id="354" r:id="rId6"/>
    <p:sldId id="355" r:id="rId7"/>
    <p:sldId id="356" r:id="rId8"/>
    <p:sldId id="288" r:id="rId9"/>
    <p:sldId id="289" r:id="rId10"/>
    <p:sldId id="357" r:id="rId11"/>
    <p:sldId id="291" r:id="rId12"/>
    <p:sldId id="296" r:id="rId13"/>
    <p:sldId id="320" r:id="rId14"/>
    <p:sldId id="358" r:id="rId15"/>
    <p:sldId id="294" r:id="rId16"/>
    <p:sldId id="295" r:id="rId17"/>
    <p:sldId id="298" r:id="rId18"/>
    <p:sldId id="299" r:id="rId19"/>
    <p:sldId id="304" r:id="rId20"/>
    <p:sldId id="306" r:id="rId21"/>
    <p:sldId id="300" r:id="rId22"/>
    <p:sldId id="301" r:id="rId23"/>
    <p:sldId id="302" r:id="rId24"/>
    <p:sldId id="303" r:id="rId25"/>
  </p:sldIdLst>
  <p:sldSz cx="12192000" cy="6858000"/>
  <p:notesSz cx="6954838" cy="9240838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None/>
      <a:defRPr sz="1400" b="0" i="0" u="none" strike="noStrike" cap="none">
        <a:solidFill>
          <a:srgbClr val="000000"/>
        </a:solidFill>
        <a:latin typeface="Arial" panose="020B0604020202020204"/>
        <a:ea typeface="Arial" panose="020B0604020202020204"/>
        <a:cs typeface="Arial" panose="020B0604020202020204"/>
        <a:sym typeface="Arial" panose="020B0604020202020204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02">
          <p15:clr>
            <a:srgbClr val="A4A3A4"/>
          </p15:clr>
        </p15:guide>
        <p15:guide id="2" pos="3862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72" d="100"/>
          <a:sy n="72" d="100"/>
        </p:scale>
        <p:origin x="-376" y="-48"/>
      </p:cViewPr>
      <p:guideLst>
        <p:guide orient="horz" pos="2102"/>
        <p:guide pos="386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colorful1#4">
  <dgm:title val=""/>
  <dgm:desc val=""/>
  <dgm:catLst>
    <dgm:cat type="colorful" pri="10100"/>
  </dgm:catLst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colorful4#5">
  <dgm:title val=""/>
  <dgm:desc val=""/>
  <dgm:catLst>
    <dgm:cat type="colorful" pri="10400"/>
  </dgm:catLst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colorful4#6">
  <dgm:title val=""/>
  <dgm:desc val=""/>
  <dgm:catLst>
    <dgm:cat type="colorful" pri="10400"/>
  </dgm:catLst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4#1">
  <dgm:title val=""/>
  <dgm:desc val=""/>
  <dgm:catLst>
    <dgm:cat type="colorful" pri="10400"/>
  </dgm:catLst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5#1">
  <dgm:title val=""/>
  <dgm:desc val=""/>
  <dgm:catLst>
    <dgm:cat type="colorful" pri="10500"/>
  </dgm:catLst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4#2">
  <dgm:title val=""/>
  <dgm:desc val=""/>
  <dgm:catLst>
    <dgm:cat type="colorful" pri="10400"/>
  </dgm:catLst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4#3">
  <dgm:title val=""/>
  <dgm:desc val=""/>
  <dgm:catLst>
    <dgm:cat type="colorful" pri="10400"/>
  </dgm:catLst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1#2">
  <dgm:title val=""/>
  <dgm:desc val=""/>
  <dgm:catLst>
    <dgm:cat type="colorful" pri="10100"/>
  </dgm:catLst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1#3">
  <dgm:title val=""/>
  <dgm:desc val=""/>
  <dgm:catLst>
    <dgm:cat type="colorful" pri="10100"/>
  </dgm:catLst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#1">
  <dgm:title val=""/>
  <dgm:desc val=""/>
  <dgm:catLst>
    <dgm:cat type="accent1" pri="11200"/>
  </dgm:catLst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colorful4#4">
  <dgm:title val=""/>
  <dgm:desc val=""/>
  <dgm:catLst>
    <dgm:cat type="colorful" pri="10400"/>
  </dgm:catLst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D60E6FA-BDE0-4455-97A3-57F9521B422A}" type="doc">
      <dgm:prSet loTypeId="urn:microsoft.com/office/officeart/2005/8/layout/cycle2" loCatId="cycle" qsTypeId="urn:microsoft.com/office/officeart/2005/8/quickstyle/simple4#1" qsCatId="simple" csTypeId="urn:microsoft.com/office/officeart/2005/8/colors/colorful1#1" csCatId="colorful" phldr="1"/>
      <dgm:spPr/>
      <dgm:t>
        <a:bodyPr/>
        <a:lstStyle/>
        <a:p>
          <a:endParaRPr lang="es-PE"/>
        </a:p>
      </dgm:t>
    </dgm:pt>
    <dgm:pt modelId="{869CFB09-5711-4F8F-8BD3-B5FC69AE57B5}">
      <dgm:prSet phldrT="[Texto]" phldr="0" custT="1"/>
      <dgm:spPr>
        <a:xfrm>
          <a:off x="4577749" y="-24897"/>
          <a:ext cx="1568533" cy="1414965"/>
        </a:xfrm>
        <a:prstGeom prst="ellipse">
          <a:avLst/>
        </a:prstGeom>
      </dgm:spPr>
      <dgm:t>
        <a:bodyPr vert="horz" wrap="square"/>
        <a:lstStyle/>
        <a:p>
          <a:pPr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endParaRPr lang="es-PE" sz="1600" b="1" dirty="0" smtClean="0">
            <a:solidFill>
              <a:schemeClr val="tx1"/>
            </a:solidFill>
            <a:latin typeface="Calibri" panose="020F0502020204030204"/>
            <a:ea typeface="+mn-ea"/>
            <a:cs typeface="+mn-cs"/>
          </a:endParaRPr>
        </a:p>
      </dgm:t>
    </dgm:pt>
    <dgm:pt modelId="{EABA1142-179A-4BEC-A290-AD4A0A3042C1}" type="parTrans" cxnId="{68129E43-6A1E-4EFB-8717-F8F5F2FFE4BB}">
      <dgm:prSet/>
      <dgm:spPr/>
      <dgm:t>
        <a:bodyPr/>
        <a:lstStyle/>
        <a:p>
          <a:endParaRPr lang="es-PE"/>
        </a:p>
      </dgm:t>
    </dgm:pt>
    <dgm:pt modelId="{5538933E-5F3B-438A-8F15-F3CD63E33AB8}" type="sibTrans" cxnId="{68129E43-6A1E-4EFB-8717-F8F5F2FFE4BB}">
      <dgm:prSet/>
      <dgm:spPr>
        <a:xfrm rot="2146885">
          <a:off x="6048103" y="1064336"/>
          <a:ext cx="302694" cy="443626"/>
        </a:xfrm>
        <a:prstGeom prst="rightArrow">
          <a:avLst>
            <a:gd name="adj1" fmla="val 60000"/>
            <a:gd name="adj2" fmla="val 50000"/>
          </a:avLst>
        </a:prstGeom>
      </dgm:spPr>
      <dgm:t>
        <a:bodyPr/>
        <a:lstStyle/>
        <a:p>
          <a:pPr>
            <a:buNone/>
          </a:pPr>
          <a:endParaRPr lang="es-PE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gm:t>
    </dgm:pt>
    <dgm:pt modelId="{985F0E2B-A54A-4251-BF56-80D6ADF476F0}">
      <dgm:prSet phldrT="[Texto]" phldr="0" custT="1"/>
      <dgm:spPr>
        <a:xfrm>
          <a:off x="6314014" y="1185175"/>
          <a:ext cx="1314449" cy="1314449"/>
        </a:xfrm>
        <a:prstGeom prst="ellipse">
          <a:avLst/>
        </a:prstGeom>
      </dgm:spPr>
      <dgm:t>
        <a:bodyPr vert="horz" wrap="square"/>
        <a:lstStyle/>
        <a:p>
          <a:pPr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endParaRPr lang="es-PE" sz="1400" b="1" dirty="0" smtClean="0">
            <a:solidFill>
              <a:schemeClr val="tx1"/>
            </a:solidFill>
            <a:latin typeface="Calibri" panose="020F0502020204030204"/>
            <a:ea typeface="+mn-ea"/>
            <a:cs typeface="+mn-cs"/>
          </a:endParaRPr>
        </a:p>
      </dgm:t>
    </dgm:pt>
    <dgm:pt modelId="{9E882EE2-B4EB-4DB3-BD89-56F23088E42A}" type="parTrans" cxnId="{24E0FF18-BD31-4220-B8A9-46ABE1608CEB}">
      <dgm:prSet/>
      <dgm:spPr/>
      <dgm:t>
        <a:bodyPr/>
        <a:lstStyle/>
        <a:p>
          <a:endParaRPr lang="es-PE"/>
        </a:p>
      </dgm:t>
    </dgm:pt>
    <dgm:pt modelId="{CB88862A-3587-4FD9-BCD7-5E58EA48A7DB}" type="sibTrans" cxnId="{24E0FF18-BD31-4220-B8A9-46ABE1608CEB}">
      <dgm:prSet/>
      <dgm:spPr>
        <a:xfrm rot="6501300">
          <a:off x="6487425" y="2549456"/>
          <a:ext cx="351259" cy="443626"/>
        </a:xfrm>
        <a:prstGeom prst="rightArrow">
          <a:avLst>
            <a:gd name="adj1" fmla="val 60000"/>
            <a:gd name="adj2" fmla="val 50000"/>
          </a:avLst>
        </a:prstGeom>
      </dgm:spPr>
      <dgm:t>
        <a:bodyPr/>
        <a:lstStyle/>
        <a:p>
          <a:pPr>
            <a:buNone/>
          </a:pPr>
          <a:endParaRPr lang="es-PE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gm:t>
    </dgm:pt>
    <dgm:pt modelId="{BA5E7EC3-1F7B-4325-9F21-41FD161058FB}">
      <dgm:prSet phldrT="[Texto]" phldr="0" custT="1"/>
      <dgm:spPr>
        <a:xfrm>
          <a:off x="5691385" y="3061785"/>
          <a:ext cx="1314449" cy="1314449"/>
        </a:xfrm>
        <a:prstGeom prst="ellipse">
          <a:avLst/>
        </a:prstGeom>
      </dgm:spPr>
      <dgm:t>
        <a:bodyPr vert="horz" wrap="square"/>
        <a:lstStyle/>
        <a:p>
          <a:pPr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s-PE" sz="1600" b="1" smtClean="0">
              <a:solidFill>
                <a:schemeClr val="tx1"/>
              </a:solidFill>
              <a:latin typeface="Calibri" panose="020F0502020204030204"/>
              <a:ea typeface="+mn-ea"/>
              <a:cs typeface="+mn-cs"/>
            </a:rPr>
            <a:t>Conocer y valorar</a:t>
          </a:r>
          <a:endParaRPr lang="es-PE" sz="1600" b="1" dirty="0" smtClean="0">
            <a:solidFill>
              <a:schemeClr val="tx1"/>
            </a:solidFill>
            <a:latin typeface="Calibri" panose="020F0502020204030204"/>
            <a:ea typeface="+mn-ea"/>
            <a:cs typeface="+mn-cs"/>
          </a:endParaRPr>
        </a:p>
      </dgm:t>
    </dgm:pt>
    <dgm:pt modelId="{7315F6E7-16D7-4C4C-942C-312E3D28B591}" type="parTrans" cxnId="{9E12B73A-5024-4335-B5A3-B412BC49BF6D}">
      <dgm:prSet/>
      <dgm:spPr/>
      <dgm:t>
        <a:bodyPr/>
        <a:lstStyle/>
        <a:p>
          <a:endParaRPr lang="es-PE"/>
        </a:p>
      </dgm:t>
    </dgm:pt>
    <dgm:pt modelId="{9E0A1771-142F-4728-97A9-447157F224C7}" type="sibTrans" cxnId="{9E12B73A-5024-4335-B5A3-B412BC49BF6D}">
      <dgm:prSet/>
      <dgm:spPr>
        <a:xfrm rot="10800000">
          <a:off x="5262362" y="3497197"/>
          <a:ext cx="303176" cy="443626"/>
        </a:xfrm>
        <a:prstGeom prst="rightArrow">
          <a:avLst>
            <a:gd name="adj1" fmla="val 60000"/>
            <a:gd name="adj2" fmla="val 50000"/>
          </a:avLst>
        </a:prstGeom>
      </dgm:spPr>
      <dgm:t>
        <a:bodyPr/>
        <a:lstStyle/>
        <a:p>
          <a:pPr>
            <a:buNone/>
          </a:pPr>
          <a:endParaRPr lang="es-PE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gm:t>
    </dgm:pt>
    <dgm:pt modelId="{82BC9102-DEB4-49D3-9EBA-D637F6B3BCF2}">
      <dgm:prSet phldrT="[Texto]" phldr="0" custT="1"/>
      <dgm:spPr>
        <a:xfrm>
          <a:off x="3631489" y="3061785"/>
          <a:ext cx="1487865" cy="1314450"/>
        </a:xfrm>
        <a:prstGeom prst="ellipse">
          <a:avLst/>
        </a:prstGeom>
      </dgm:spPr>
      <dgm:t>
        <a:bodyPr vert="horz" wrap="square"/>
        <a:lstStyle/>
        <a:p>
          <a:pPr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endParaRPr lang="es-PE" sz="1600" b="1" dirty="0" smtClean="0">
            <a:solidFill>
              <a:schemeClr val="tx1"/>
            </a:solidFill>
            <a:latin typeface="Calibri" panose="020F0502020204030204"/>
            <a:ea typeface="+mn-ea"/>
            <a:cs typeface="+mn-cs"/>
          </a:endParaRPr>
        </a:p>
      </dgm:t>
    </dgm:pt>
    <dgm:pt modelId="{E7E1813C-694F-4C05-BBCB-CFC4936EA132}" type="parTrans" cxnId="{C22F8307-6C27-49F4-8D6E-9841D4B2D340}">
      <dgm:prSet/>
      <dgm:spPr/>
      <dgm:t>
        <a:bodyPr/>
        <a:lstStyle/>
        <a:p>
          <a:endParaRPr lang="es-PE"/>
        </a:p>
      </dgm:t>
    </dgm:pt>
    <dgm:pt modelId="{8D682596-BEF3-4916-9495-E92A5D8B97DB}" type="sibTrans" cxnId="{C22F8307-6C27-49F4-8D6E-9841D4B2D340}">
      <dgm:prSet/>
      <dgm:spPr>
        <a:xfrm rot="14477660">
          <a:off x="3826520" y="2713424"/>
          <a:ext cx="239395" cy="443626"/>
        </a:xfrm>
        <a:prstGeom prst="rightArrow">
          <a:avLst>
            <a:gd name="adj1" fmla="val 60000"/>
            <a:gd name="adj2" fmla="val 50000"/>
          </a:avLst>
        </a:prstGeom>
      </dgm:spPr>
      <dgm:t>
        <a:bodyPr/>
        <a:lstStyle/>
        <a:p>
          <a:pPr>
            <a:buNone/>
          </a:pPr>
          <a:endParaRPr lang="es-PE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gm:t>
    </dgm:pt>
    <dgm:pt modelId="{DBE4D5CF-8D56-46F7-BA19-49A0E1982A11}">
      <dgm:prSet phldrT="[Texto]" phldr="0" custT="1"/>
      <dgm:spPr>
        <a:xfrm>
          <a:off x="2607205" y="1344015"/>
          <a:ext cx="1731314" cy="1453650"/>
        </a:xfrm>
        <a:prstGeom prst="ellipse">
          <a:avLst/>
        </a:prstGeom>
      </dgm:spPr>
      <dgm:t>
        <a:bodyPr vert="horz" wrap="square"/>
        <a:lstStyle/>
        <a:p>
          <a:pPr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endParaRPr lang="es-PE" sz="1400" b="1" dirty="0" smtClean="0">
            <a:solidFill>
              <a:schemeClr val="tx1"/>
            </a:solidFill>
            <a:latin typeface="Calibri" panose="020F0502020204030204"/>
            <a:ea typeface="+mn-ea"/>
            <a:cs typeface="+mn-cs"/>
          </a:endParaRPr>
        </a:p>
      </dgm:t>
    </dgm:pt>
    <dgm:pt modelId="{F5B8731D-7568-458D-8522-AD2386B79A5B}" type="parTrans" cxnId="{FC26D873-9200-41E7-8022-007411523C4B}">
      <dgm:prSet/>
      <dgm:spPr/>
      <dgm:t>
        <a:bodyPr/>
        <a:lstStyle/>
        <a:p>
          <a:endParaRPr lang="es-PE"/>
        </a:p>
      </dgm:t>
    </dgm:pt>
    <dgm:pt modelId="{FEA08096-623C-49AC-8441-7386CB1A742F}" type="sibTrans" cxnId="{FC26D873-9200-41E7-8022-007411523C4B}">
      <dgm:prSet/>
      <dgm:spPr>
        <a:xfrm rot="19421369">
          <a:off x="4222587" y="1145912"/>
          <a:ext cx="414163" cy="443626"/>
        </a:xfrm>
        <a:prstGeom prst="rightArrow">
          <a:avLst>
            <a:gd name="adj1" fmla="val 60000"/>
            <a:gd name="adj2" fmla="val 50000"/>
          </a:avLst>
        </a:prstGeom>
      </dgm:spPr>
      <dgm:t>
        <a:bodyPr/>
        <a:lstStyle/>
        <a:p>
          <a:pPr>
            <a:buNone/>
          </a:pPr>
          <a:endParaRPr lang="es-PE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gm:t>
    </dgm:pt>
    <dgm:pt modelId="{7521EC35-6792-4C13-9FA7-544A8FB82A33}" type="pres">
      <dgm:prSet presAssocID="{DD60E6FA-BDE0-4455-97A3-57F9521B422A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0E466D2F-F2C6-4AF4-B2E3-884DF9B4CDD6}" type="pres">
      <dgm:prSet presAssocID="{869CFB09-5711-4F8F-8BD3-B5FC69AE57B5}" presName="node" presStyleLbl="node1" presStyleIdx="0" presStyleCnt="5" custScaleX="148348" custScaleY="107647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457D5015-CA24-41E9-9619-B2A2D9A8256C}" type="pres">
      <dgm:prSet presAssocID="{5538933E-5F3B-438A-8F15-F3CD63E33AB8}" presName="sibTrans" presStyleLbl="sibTrans2D1" presStyleIdx="0" presStyleCnt="5"/>
      <dgm:spPr/>
      <dgm:t>
        <a:bodyPr/>
        <a:lstStyle/>
        <a:p>
          <a:endParaRPr lang="es-ES"/>
        </a:p>
      </dgm:t>
    </dgm:pt>
    <dgm:pt modelId="{353F48A5-411B-4FCD-8EA6-9D3B8EBDF8EC}" type="pres">
      <dgm:prSet presAssocID="{5538933E-5F3B-438A-8F15-F3CD63E33AB8}" presName="connectorText" presStyleLbl="sibTrans2D1" presStyleIdx="0" presStyleCnt="5"/>
      <dgm:spPr/>
      <dgm:t>
        <a:bodyPr/>
        <a:lstStyle/>
        <a:p>
          <a:endParaRPr lang="es-ES"/>
        </a:p>
      </dgm:t>
    </dgm:pt>
    <dgm:pt modelId="{DCD3FB55-02D0-4584-A53A-1E1D3FBABB3D}" type="pres">
      <dgm:prSet presAssocID="{985F0E2B-A54A-4251-BF56-80D6ADF476F0}" presName="node" presStyleLbl="node1" presStyleIdx="1" presStyleCnt="5" custScaleX="165001" custRadScaleRad="100730" custRadScaleInc="375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DB5E9E3A-BED3-48D2-B3EF-A991091440CD}" type="pres">
      <dgm:prSet presAssocID="{CB88862A-3587-4FD9-BCD7-5E58EA48A7DB}" presName="sibTrans" presStyleLbl="sibTrans2D1" presStyleIdx="1" presStyleCnt="5"/>
      <dgm:spPr/>
      <dgm:t>
        <a:bodyPr/>
        <a:lstStyle/>
        <a:p>
          <a:endParaRPr lang="es-ES"/>
        </a:p>
      </dgm:t>
    </dgm:pt>
    <dgm:pt modelId="{A624C079-7536-4506-8ECD-BB89BA13ED2E}" type="pres">
      <dgm:prSet presAssocID="{CB88862A-3587-4FD9-BCD7-5E58EA48A7DB}" presName="connectorText" presStyleLbl="sibTrans2D1" presStyleIdx="1" presStyleCnt="5"/>
      <dgm:spPr/>
      <dgm:t>
        <a:bodyPr/>
        <a:lstStyle/>
        <a:p>
          <a:endParaRPr lang="es-ES"/>
        </a:p>
      </dgm:t>
    </dgm:pt>
    <dgm:pt modelId="{8EC20D3C-2162-47FC-94A7-980A0E98678E}" type="pres">
      <dgm:prSet presAssocID="{BA5E7EC3-1F7B-4325-9F21-41FD161058FB}" presName="node" presStyleLbl="node1" presStyleIdx="2" presStyleCnt="5" custScaleX="136115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664C7E46-068F-4BDD-B817-A8D7020202BD}" type="pres">
      <dgm:prSet presAssocID="{9E0A1771-142F-4728-97A9-447157F224C7}" presName="sibTrans" presStyleLbl="sibTrans2D1" presStyleIdx="2" presStyleCnt="5"/>
      <dgm:spPr/>
      <dgm:t>
        <a:bodyPr/>
        <a:lstStyle/>
        <a:p>
          <a:endParaRPr lang="es-ES"/>
        </a:p>
      </dgm:t>
    </dgm:pt>
    <dgm:pt modelId="{5C73147E-E3DA-49E9-B904-A6C7CCC572C3}" type="pres">
      <dgm:prSet presAssocID="{9E0A1771-142F-4728-97A9-447157F224C7}" presName="connectorText" presStyleLbl="sibTrans2D1" presStyleIdx="2" presStyleCnt="5"/>
      <dgm:spPr/>
      <dgm:t>
        <a:bodyPr/>
        <a:lstStyle/>
        <a:p>
          <a:endParaRPr lang="es-ES"/>
        </a:p>
      </dgm:t>
    </dgm:pt>
    <dgm:pt modelId="{1491EC04-85E3-4080-9E96-A328AE9CE28D}" type="pres">
      <dgm:prSet presAssocID="{82BC9102-DEB4-49D3-9EBA-D637F6B3BCF2}" presName="node" presStyleLbl="node1" presStyleIdx="3" presStyleCnt="5" custScaleX="115372" custRadScaleRad="105705" custRadScaleInc="5546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441237D5-C8C1-48C5-8702-F358C9B42300}" type="pres">
      <dgm:prSet presAssocID="{8D682596-BEF3-4916-9495-E92A5D8B97DB}" presName="sibTrans" presStyleLbl="sibTrans2D1" presStyleIdx="3" presStyleCnt="5"/>
      <dgm:spPr/>
      <dgm:t>
        <a:bodyPr/>
        <a:lstStyle/>
        <a:p>
          <a:endParaRPr lang="es-ES"/>
        </a:p>
      </dgm:t>
    </dgm:pt>
    <dgm:pt modelId="{6D7539A2-E14A-444A-929E-8A82B1547A43}" type="pres">
      <dgm:prSet presAssocID="{8D682596-BEF3-4916-9495-E92A5D8B97DB}" presName="connectorText" presStyleLbl="sibTrans2D1" presStyleIdx="3" presStyleCnt="5"/>
      <dgm:spPr/>
      <dgm:t>
        <a:bodyPr/>
        <a:lstStyle/>
        <a:p>
          <a:endParaRPr lang="es-ES"/>
        </a:p>
      </dgm:t>
    </dgm:pt>
    <dgm:pt modelId="{2C1CEE50-384D-4564-A656-E2FBB2355410}" type="pres">
      <dgm:prSet presAssocID="{DBE4D5CF-8D56-46F7-BA19-49A0E1982A11}" presName="node" presStyleLbl="node1" presStyleIdx="4" presStyleCnt="5" custScaleX="145203" custScaleY="110590" custRadScaleRad="113871" custRadScaleInc="-25738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F852202A-CC66-449D-BFC4-A94FB4EE5ACB}" type="pres">
      <dgm:prSet presAssocID="{FEA08096-623C-49AC-8441-7386CB1A742F}" presName="sibTrans" presStyleLbl="sibTrans2D1" presStyleIdx="4" presStyleCnt="5"/>
      <dgm:spPr/>
      <dgm:t>
        <a:bodyPr/>
        <a:lstStyle/>
        <a:p>
          <a:endParaRPr lang="es-ES"/>
        </a:p>
      </dgm:t>
    </dgm:pt>
    <dgm:pt modelId="{45EF3D6B-1983-401A-962F-3847A17C242D}" type="pres">
      <dgm:prSet presAssocID="{FEA08096-623C-49AC-8441-7386CB1A742F}" presName="connectorText" presStyleLbl="sibTrans2D1" presStyleIdx="4" presStyleCnt="5"/>
      <dgm:spPr/>
      <dgm:t>
        <a:bodyPr/>
        <a:lstStyle/>
        <a:p>
          <a:endParaRPr lang="es-ES"/>
        </a:p>
      </dgm:t>
    </dgm:pt>
  </dgm:ptLst>
  <dgm:cxnLst>
    <dgm:cxn modelId="{E94E7A4C-1C9A-4AD4-92D8-F9B39E1C056C}" type="presOf" srcId="{8D682596-BEF3-4916-9495-E92A5D8B97DB}" destId="{6D7539A2-E14A-444A-929E-8A82B1547A43}" srcOrd="1" destOrd="0" presId="urn:microsoft.com/office/officeart/2005/8/layout/cycle2"/>
    <dgm:cxn modelId="{21ACA9D9-1D83-48FD-962B-4B96673468F7}" type="presOf" srcId="{82BC9102-DEB4-49D3-9EBA-D637F6B3BCF2}" destId="{1491EC04-85E3-4080-9E96-A328AE9CE28D}" srcOrd="0" destOrd="0" presId="urn:microsoft.com/office/officeart/2005/8/layout/cycle2"/>
    <dgm:cxn modelId="{BF682E84-C132-426F-8B21-4762061B8FDC}" type="presOf" srcId="{CB88862A-3587-4FD9-BCD7-5E58EA48A7DB}" destId="{DB5E9E3A-BED3-48D2-B3EF-A991091440CD}" srcOrd="0" destOrd="0" presId="urn:microsoft.com/office/officeart/2005/8/layout/cycle2"/>
    <dgm:cxn modelId="{03CC60DD-F443-4700-BD46-0D3DF4C4158F}" type="presOf" srcId="{CB88862A-3587-4FD9-BCD7-5E58EA48A7DB}" destId="{A624C079-7536-4506-8ECD-BB89BA13ED2E}" srcOrd="1" destOrd="0" presId="urn:microsoft.com/office/officeart/2005/8/layout/cycle2"/>
    <dgm:cxn modelId="{9E12B73A-5024-4335-B5A3-B412BC49BF6D}" srcId="{DD60E6FA-BDE0-4455-97A3-57F9521B422A}" destId="{BA5E7EC3-1F7B-4325-9F21-41FD161058FB}" srcOrd="2" destOrd="0" parTransId="{7315F6E7-16D7-4C4C-942C-312E3D28B591}" sibTransId="{9E0A1771-142F-4728-97A9-447157F224C7}"/>
    <dgm:cxn modelId="{617E9E4E-2822-4197-BF85-924BC1BFCF61}" type="presOf" srcId="{985F0E2B-A54A-4251-BF56-80D6ADF476F0}" destId="{DCD3FB55-02D0-4584-A53A-1E1D3FBABB3D}" srcOrd="0" destOrd="0" presId="urn:microsoft.com/office/officeart/2005/8/layout/cycle2"/>
    <dgm:cxn modelId="{22297607-264F-4BD6-AA54-C5F9B16059B0}" type="presOf" srcId="{9E0A1771-142F-4728-97A9-447157F224C7}" destId="{5C73147E-E3DA-49E9-B904-A6C7CCC572C3}" srcOrd="1" destOrd="0" presId="urn:microsoft.com/office/officeart/2005/8/layout/cycle2"/>
    <dgm:cxn modelId="{FC26D873-9200-41E7-8022-007411523C4B}" srcId="{DD60E6FA-BDE0-4455-97A3-57F9521B422A}" destId="{DBE4D5CF-8D56-46F7-BA19-49A0E1982A11}" srcOrd="4" destOrd="0" parTransId="{F5B8731D-7568-458D-8522-AD2386B79A5B}" sibTransId="{FEA08096-623C-49AC-8441-7386CB1A742F}"/>
    <dgm:cxn modelId="{C22F8307-6C27-49F4-8D6E-9841D4B2D340}" srcId="{DD60E6FA-BDE0-4455-97A3-57F9521B422A}" destId="{82BC9102-DEB4-49D3-9EBA-D637F6B3BCF2}" srcOrd="3" destOrd="0" parTransId="{E7E1813C-694F-4C05-BBCB-CFC4936EA132}" sibTransId="{8D682596-BEF3-4916-9495-E92A5D8B97DB}"/>
    <dgm:cxn modelId="{C3CFA4AE-1A2A-42F4-9B54-C94AE67F2B57}" type="presOf" srcId="{9E0A1771-142F-4728-97A9-447157F224C7}" destId="{664C7E46-068F-4BDD-B817-A8D7020202BD}" srcOrd="0" destOrd="0" presId="urn:microsoft.com/office/officeart/2005/8/layout/cycle2"/>
    <dgm:cxn modelId="{DAA26169-48B7-4C98-B361-68ACB52E66D4}" type="presOf" srcId="{5538933E-5F3B-438A-8F15-F3CD63E33AB8}" destId="{457D5015-CA24-41E9-9619-B2A2D9A8256C}" srcOrd="0" destOrd="0" presId="urn:microsoft.com/office/officeart/2005/8/layout/cycle2"/>
    <dgm:cxn modelId="{3644BEAE-7ACC-48F8-A1A0-1A67CFE4D05F}" type="presOf" srcId="{DBE4D5CF-8D56-46F7-BA19-49A0E1982A11}" destId="{2C1CEE50-384D-4564-A656-E2FBB2355410}" srcOrd="0" destOrd="0" presId="urn:microsoft.com/office/officeart/2005/8/layout/cycle2"/>
    <dgm:cxn modelId="{68129E43-6A1E-4EFB-8717-F8F5F2FFE4BB}" srcId="{DD60E6FA-BDE0-4455-97A3-57F9521B422A}" destId="{869CFB09-5711-4F8F-8BD3-B5FC69AE57B5}" srcOrd="0" destOrd="0" parTransId="{EABA1142-179A-4BEC-A290-AD4A0A3042C1}" sibTransId="{5538933E-5F3B-438A-8F15-F3CD63E33AB8}"/>
    <dgm:cxn modelId="{C3443734-AA9A-4A36-988B-AA6119D6C346}" type="presOf" srcId="{BA5E7EC3-1F7B-4325-9F21-41FD161058FB}" destId="{8EC20D3C-2162-47FC-94A7-980A0E98678E}" srcOrd="0" destOrd="0" presId="urn:microsoft.com/office/officeart/2005/8/layout/cycle2"/>
    <dgm:cxn modelId="{24E0FF18-BD31-4220-B8A9-46ABE1608CEB}" srcId="{DD60E6FA-BDE0-4455-97A3-57F9521B422A}" destId="{985F0E2B-A54A-4251-BF56-80D6ADF476F0}" srcOrd="1" destOrd="0" parTransId="{9E882EE2-B4EB-4DB3-BD89-56F23088E42A}" sibTransId="{CB88862A-3587-4FD9-BCD7-5E58EA48A7DB}"/>
    <dgm:cxn modelId="{222E661D-61A4-44CE-AFF1-CCF79DAE7086}" type="presOf" srcId="{869CFB09-5711-4F8F-8BD3-B5FC69AE57B5}" destId="{0E466D2F-F2C6-4AF4-B2E3-884DF9B4CDD6}" srcOrd="0" destOrd="0" presId="urn:microsoft.com/office/officeart/2005/8/layout/cycle2"/>
    <dgm:cxn modelId="{E0B174C1-E971-4E83-91A0-47E68214E472}" type="presOf" srcId="{8D682596-BEF3-4916-9495-E92A5D8B97DB}" destId="{441237D5-C8C1-48C5-8702-F358C9B42300}" srcOrd="0" destOrd="0" presId="urn:microsoft.com/office/officeart/2005/8/layout/cycle2"/>
    <dgm:cxn modelId="{2F361418-5530-471A-B5F8-F9EF274DFE7F}" type="presOf" srcId="{FEA08096-623C-49AC-8441-7386CB1A742F}" destId="{F852202A-CC66-449D-BFC4-A94FB4EE5ACB}" srcOrd="0" destOrd="0" presId="urn:microsoft.com/office/officeart/2005/8/layout/cycle2"/>
    <dgm:cxn modelId="{A6574EE5-399F-4BFB-8581-9F320F000B37}" type="presOf" srcId="{5538933E-5F3B-438A-8F15-F3CD63E33AB8}" destId="{353F48A5-411B-4FCD-8EA6-9D3B8EBDF8EC}" srcOrd="1" destOrd="0" presId="urn:microsoft.com/office/officeart/2005/8/layout/cycle2"/>
    <dgm:cxn modelId="{78100581-64E3-44CC-BCE5-C4816B94546D}" type="presOf" srcId="{FEA08096-623C-49AC-8441-7386CB1A742F}" destId="{45EF3D6B-1983-401A-962F-3847A17C242D}" srcOrd="1" destOrd="0" presId="urn:microsoft.com/office/officeart/2005/8/layout/cycle2"/>
    <dgm:cxn modelId="{A82DE26D-EFA1-4531-92D1-D50F693D2F8C}" type="presOf" srcId="{DD60E6FA-BDE0-4455-97A3-57F9521B422A}" destId="{7521EC35-6792-4C13-9FA7-544A8FB82A33}" srcOrd="0" destOrd="0" presId="urn:microsoft.com/office/officeart/2005/8/layout/cycle2"/>
    <dgm:cxn modelId="{CB3D5CE2-DCC3-48FF-BE2B-D05CE12E02C2}" type="presParOf" srcId="{7521EC35-6792-4C13-9FA7-544A8FB82A33}" destId="{0E466D2F-F2C6-4AF4-B2E3-884DF9B4CDD6}" srcOrd="0" destOrd="0" presId="urn:microsoft.com/office/officeart/2005/8/layout/cycle2"/>
    <dgm:cxn modelId="{37FA6442-B2F8-403E-ABFE-6FF277B7E5C1}" type="presParOf" srcId="{7521EC35-6792-4C13-9FA7-544A8FB82A33}" destId="{457D5015-CA24-41E9-9619-B2A2D9A8256C}" srcOrd="1" destOrd="0" presId="urn:microsoft.com/office/officeart/2005/8/layout/cycle2"/>
    <dgm:cxn modelId="{C270E48F-01E9-4E53-8124-738C24B133DD}" type="presParOf" srcId="{457D5015-CA24-41E9-9619-B2A2D9A8256C}" destId="{353F48A5-411B-4FCD-8EA6-9D3B8EBDF8EC}" srcOrd="0" destOrd="0" presId="urn:microsoft.com/office/officeart/2005/8/layout/cycle2"/>
    <dgm:cxn modelId="{E7A60CAA-4118-4A9B-80B1-AC2E3CC3E723}" type="presParOf" srcId="{7521EC35-6792-4C13-9FA7-544A8FB82A33}" destId="{DCD3FB55-02D0-4584-A53A-1E1D3FBABB3D}" srcOrd="2" destOrd="0" presId="urn:microsoft.com/office/officeart/2005/8/layout/cycle2"/>
    <dgm:cxn modelId="{4C3711D7-7383-4169-A73D-C1EA1D981E36}" type="presParOf" srcId="{7521EC35-6792-4C13-9FA7-544A8FB82A33}" destId="{DB5E9E3A-BED3-48D2-B3EF-A991091440CD}" srcOrd="3" destOrd="0" presId="urn:microsoft.com/office/officeart/2005/8/layout/cycle2"/>
    <dgm:cxn modelId="{7DBDFC35-4556-4415-A15C-2039D4FECD75}" type="presParOf" srcId="{DB5E9E3A-BED3-48D2-B3EF-A991091440CD}" destId="{A624C079-7536-4506-8ECD-BB89BA13ED2E}" srcOrd="0" destOrd="0" presId="urn:microsoft.com/office/officeart/2005/8/layout/cycle2"/>
    <dgm:cxn modelId="{2F4AFF1D-CDE7-41DD-9E16-C391932C6677}" type="presParOf" srcId="{7521EC35-6792-4C13-9FA7-544A8FB82A33}" destId="{8EC20D3C-2162-47FC-94A7-980A0E98678E}" srcOrd="4" destOrd="0" presId="urn:microsoft.com/office/officeart/2005/8/layout/cycle2"/>
    <dgm:cxn modelId="{9D71D537-7F64-4EB3-B819-3F1AFEAF883F}" type="presParOf" srcId="{7521EC35-6792-4C13-9FA7-544A8FB82A33}" destId="{664C7E46-068F-4BDD-B817-A8D7020202BD}" srcOrd="5" destOrd="0" presId="urn:microsoft.com/office/officeart/2005/8/layout/cycle2"/>
    <dgm:cxn modelId="{E1B0AC9C-44C4-4460-A4EB-B900917063D3}" type="presParOf" srcId="{664C7E46-068F-4BDD-B817-A8D7020202BD}" destId="{5C73147E-E3DA-49E9-B904-A6C7CCC572C3}" srcOrd="0" destOrd="0" presId="urn:microsoft.com/office/officeart/2005/8/layout/cycle2"/>
    <dgm:cxn modelId="{E9A0FFE6-67F7-40AE-9B3B-20B7648AB884}" type="presParOf" srcId="{7521EC35-6792-4C13-9FA7-544A8FB82A33}" destId="{1491EC04-85E3-4080-9E96-A328AE9CE28D}" srcOrd="6" destOrd="0" presId="urn:microsoft.com/office/officeart/2005/8/layout/cycle2"/>
    <dgm:cxn modelId="{97AD1761-822E-48CE-B4B2-F1EB7F565C82}" type="presParOf" srcId="{7521EC35-6792-4C13-9FA7-544A8FB82A33}" destId="{441237D5-C8C1-48C5-8702-F358C9B42300}" srcOrd="7" destOrd="0" presId="urn:microsoft.com/office/officeart/2005/8/layout/cycle2"/>
    <dgm:cxn modelId="{7265E31C-712C-45C7-9081-71BE5B0A8FDA}" type="presParOf" srcId="{441237D5-C8C1-48C5-8702-F358C9B42300}" destId="{6D7539A2-E14A-444A-929E-8A82B1547A43}" srcOrd="0" destOrd="0" presId="urn:microsoft.com/office/officeart/2005/8/layout/cycle2"/>
    <dgm:cxn modelId="{661A9539-1323-486E-A122-7B4F1A966F38}" type="presParOf" srcId="{7521EC35-6792-4C13-9FA7-544A8FB82A33}" destId="{2C1CEE50-384D-4564-A656-E2FBB2355410}" srcOrd="8" destOrd="0" presId="urn:microsoft.com/office/officeart/2005/8/layout/cycle2"/>
    <dgm:cxn modelId="{63705E33-771D-4F17-978A-5834B0CF99F1}" type="presParOf" srcId="{7521EC35-6792-4C13-9FA7-544A8FB82A33}" destId="{F852202A-CC66-449D-BFC4-A94FB4EE5ACB}" srcOrd="9" destOrd="0" presId="urn:microsoft.com/office/officeart/2005/8/layout/cycle2"/>
    <dgm:cxn modelId="{4E2DFC27-AEC4-4046-A490-70BE3DCE050D}" type="presParOf" srcId="{F852202A-CC66-449D-BFC4-A94FB4EE5ACB}" destId="{45EF3D6B-1983-401A-962F-3847A17C242D}" srcOrd="0" destOrd="0" presId="urn:microsoft.com/office/officeart/2005/8/layout/cycle2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BBA4B40B-64CB-4C20-BA84-5C7E2675C622}" type="doc">
      <dgm:prSet loTypeId="urn:microsoft.com/office/officeart/2005/8/layout/hProcess9#2" loCatId="process" qsTypeId="urn:microsoft.com/office/officeart/2005/8/quickstyle/simple1#6" qsCatId="simple" csTypeId="urn:microsoft.com/office/officeart/2005/8/colors/colorful1#4" csCatId="accent1" phldr="1"/>
      <dgm:spPr/>
    </dgm:pt>
    <dgm:pt modelId="{BF13D785-97B9-4FAC-AADF-70A8BFDA7657}">
      <dgm:prSet phldrT="[Texto]" phldr="0" custT="0"/>
      <dgm:spPr/>
      <dgm:t>
        <a:bodyPr vert="horz" wrap="square"/>
        <a:lstStyle/>
        <a:p>
          <a:pPr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s-ES" b="1" dirty="0" smtClean="0">
              <a:solidFill>
                <a:schemeClr val="tx1"/>
              </a:solidFill>
            </a:rPr>
            <a:t>Enfatizar los puntos positivos del trabajo, se crea un clima de confianza</a:t>
          </a:r>
        </a:p>
      </dgm:t>
    </dgm:pt>
    <dgm:pt modelId="{1A7659BC-9B5C-47FF-9556-FE66258C2516}" type="parTrans" cxnId="{6445F282-EA25-4430-BA45-2D36B1CC02C0}">
      <dgm:prSet/>
      <dgm:spPr/>
      <dgm:t>
        <a:bodyPr/>
        <a:lstStyle/>
        <a:p>
          <a:endParaRPr lang="es-ES"/>
        </a:p>
      </dgm:t>
    </dgm:pt>
    <dgm:pt modelId="{8E5B7FAB-0C12-435D-AF01-9F2255EB8554}" type="sibTrans" cxnId="{6445F282-EA25-4430-BA45-2D36B1CC02C0}">
      <dgm:prSet/>
      <dgm:spPr/>
      <dgm:t>
        <a:bodyPr/>
        <a:lstStyle/>
        <a:p>
          <a:endParaRPr lang="es-ES"/>
        </a:p>
      </dgm:t>
    </dgm:pt>
    <dgm:pt modelId="{A9E107B9-978B-4436-A9E4-0BBE32491B2B}">
      <dgm:prSet phldrT="[Texto]" phldr="0" custT="0"/>
      <dgm:spPr/>
      <dgm:t>
        <a:bodyPr vert="horz" wrap="square"/>
        <a:lstStyle/>
        <a:p>
          <a:pPr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s-ES" b="1" dirty="0" smtClean="0">
              <a:solidFill>
                <a:schemeClr val="tx1"/>
              </a:solidFill>
            </a:rPr>
            <a:t>Destacar las fortalezas y aspectos interesantes, ofrecer comentarios honestos. Este tipo de valoración muestra respeto hacia los estudiantes y sus </a:t>
          </a:r>
          <a:r>
            <a:rPr lang="es-ES" b="1" dirty="0" err="1" smtClean="0">
              <a:solidFill>
                <a:schemeClr val="tx1"/>
              </a:solidFill>
            </a:rPr>
            <a:t>hideas</a:t>
          </a:r>
          <a:r>
            <a:rPr lang="es-ES" dirty="0" smtClean="0"/>
            <a:t> </a:t>
          </a:r>
          <a:endParaRPr lang="es-ES" dirty="0"/>
        </a:p>
      </dgm:t>
    </dgm:pt>
    <dgm:pt modelId="{9917E9E5-7EDA-4F36-92CD-395D4C5B6C1C}" type="parTrans" cxnId="{FB81800A-B037-4C9A-BE41-7467E7066BF4}">
      <dgm:prSet/>
      <dgm:spPr/>
      <dgm:t>
        <a:bodyPr/>
        <a:lstStyle/>
        <a:p>
          <a:endParaRPr lang="es-ES"/>
        </a:p>
      </dgm:t>
    </dgm:pt>
    <dgm:pt modelId="{CA9E5F32-1E2A-4AFD-B90B-4046F27EC314}" type="sibTrans" cxnId="{FB81800A-B037-4C9A-BE41-7467E7066BF4}">
      <dgm:prSet/>
      <dgm:spPr/>
      <dgm:t>
        <a:bodyPr/>
        <a:lstStyle/>
        <a:p>
          <a:endParaRPr lang="es-ES"/>
        </a:p>
      </dgm:t>
    </dgm:pt>
    <dgm:pt modelId="{85199D73-43B3-4A53-92F4-5E5238AE587D}">
      <dgm:prSet phldrT="[Texto]" phldr="0" custT="1"/>
      <dgm:spPr/>
      <dgm:t>
        <a:bodyPr vert="horz" wrap="square"/>
        <a:lstStyle/>
        <a:p>
          <a:pPr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s-ES" sz="2400" dirty="0" smtClean="0">
              <a:solidFill>
                <a:schemeClr val="tx1"/>
              </a:solidFill>
            </a:rPr>
            <a:t>¿Que es lo que mas importa?</a:t>
          </a:r>
        </a:p>
      </dgm:t>
    </dgm:pt>
    <dgm:pt modelId="{9537D2BD-0A7F-4249-B2D5-4D3D2C65BE0B}" type="parTrans" cxnId="{3395C478-FEC9-4715-A4B8-2B138BADA92E}">
      <dgm:prSet/>
      <dgm:spPr/>
      <dgm:t>
        <a:bodyPr/>
        <a:lstStyle/>
        <a:p>
          <a:endParaRPr lang="es-ES"/>
        </a:p>
      </dgm:t>
    </dgm:pt>
    <dgm:pt modelId="{996C4C6C-D397-42E5-A651-4C016C5A88F6}" type="sibTrans" cxnId="{3395C478-FEC9-4715-A4B8-2B138BADA92E}">
      <dgm:prSet/>
      <dgm:spPr/>
      <dgm:t>
        <a:bodyPr/>
        <a:lstStyle/>
        <a:p>
          <a:endParaRPr lang="es-ES"/>
        </a:p>
      </dgm:t>
    </dgm:pt>
    <dgm:pt modelId="{9E009542-EA4D-4552-B61A-CDECE0AFB124}" type="pres">
      <dgm:prSet presAssocID="{BBA4B40B-64CB-4C20-BA84-5C7E2675C622}" presName="CompostProcess" presStyleCnt="0">
        <dgm:presLayoutVars>
          <dgm:dir/>
          <dgm:resizeHandles val="exact"/>
        </dgm:presLayoutVars>
      </dgm:prSet>
      <dgm:spPr/>
    </dgm:pt>
    <dgm:pt modelId="{6030A3AF-A010-49BE-B3E5-09C36362D3E5}" type="pres">
      <dgm:prSet presAssocID="{BBA4B40B-64CB-4C20-BA84-5C7E2675C622}" presName="arrow" presStyleLbl="bgShp" presStyleIdx="0" presStyleCnt="1"/>
      <dgm:spPr>
        <a:solidFill>
          <a:srgbClr val="92D050"/>
        </a:solidFill>
      </dgm:spPr>
    </dgm:pt>
    <dgm:pt modelId="{09B37552-A555-4C50-ACD1-A268CDBFDEA1}" type="pres">
      <dgm:prSet presAssocID="{BBA4B40B-64CB-4C20-BA84-5C7E2675C622}" presName="linearProcess" presStyleCnt="0"/>
      <dgm:spPr/>
    </dgm:pt>
    <dgm:pt modelId="{A267D02C-2291-480A-96B7-EC945D6A29A2}" type="pres">
      <dgm:prSet presAssocID="{BF13D785-97B9-4FAC-AADF-70A8BFDA7657}" presName="text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8FCF392F-3E76-456C-BEDA-44FD8DF9D198}" type="pres">
      <dgm:prSet presAssocID="{8E5B7FAB-0C12-435D-AF01-9F2255EB8554}" presName="sibTrans" presStyleCnt="0"/>
      <dgm:spPr/>
    </dgm:pt>
    <dgm:pt modelId="{2AC2ACC4-F904-44A3-A8A0-2694F4608E35}" type="pres">
      <dgm:prSet presAssocID="{A9E107B9-978B-4436-A9E4-0BBE32491B2B}" presName="text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28793BF2-A6F5-4E6E-914B-AD94E9BFB83E}" type="pres">
      <dgm:prSet presAssocID="{CA9E5F32-1E2A-4AFD-B90B-4046F27EC314}" presName="sibTrans" presStyleCnt="0"/>
      <dgm:spPr/>
    </dgm:pt>
    <dgm:pt modelId="{FDD2F85B-E1D1-498F-9636-61BDF2F4CA45}" type="pres">
      <dgm:prSet presAssocID="{85199D73-43B3-4A53-92F4-5E5238AE587D}" presName="text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8B0EC3C6-0F52-40EE-86B8-81397BB64F9E}" type="presOf" srcId="{A9E107B9-978B-4436-A9E4-0BBE32491B2B}" destId="{2AC2ACC4-F904-44A3-A8A0-2694F4608E35}" srcOrd="0" destOrd="0" presId="urn:microsoft.com/office/officeart/2005/8/layout/hProcess9#2"/>
    <dgm:cxn modelId="{6445F282-EA25-4430-BA45-2D36B1CC02C0}" srcId="{BBA4B40B-64CB-4C20-BA84-5C7E2675C622}" destId="{BF13D785-97B9-4FAC-AADF-70A8BFDA7657}" srcOrd="0" destOrd="0" parTransId="{1A7659BC-9B5C-47FF-9556-FE66258C2516}" sibTransId="{8E5B7FAB-0C12-435D-AF01-9F2255EB8554}"/>
    <dgm:cxn modelId="{3EE11EAB-BA65-467B-BCEF-F46111B8B6B6}" type="presOf" srcId="{85199D73-43B3-4A53-92F4-5E5238AE587D}" destId="{FDD2F85B-E1D1-498F-9636-61BDF2F4CA45}" srcOrd="0" destOrd="0" presId="urn:microsoft.com/office/officeart/2005/8/layout/hProcess9#2"/>
    <dgm:cxn modelId="{FB81800A-B037-4C9A-BE41-7467E7066BF4}" srcId="{BBA4B40B-64CB-4C20-BA84-5C7E2675C622}" destId="{A9E107B9-978B-4436-A9E4-0BBE32491B2B}" srcOrd="1" destOrd="0" parTransId="{9917E9E5-7EDA-4F36-92CD-395D4C5B6C1C}" sibTransId="{CA9E5F32-1E2A-4AFD-B90B-4046F27EC314}"/>
    <dgm:cxn modelId="{6B32ECF6-542A-4DC2-81F2-25E0B60F5761}" type="presOf" srcId="{BBA4B40B-64CB-4C20-BA84-5C7E2675C622}" destId="{9E009542-EA4D-4552-B61A-CDECE0AFB124}" srcOrd="0" destOrd="0" presId="urn:microsoft.com/office/officeart/2005/8/layout/hProcess9#2"/>
    <dgm:cxn modelId="{8F22609D-B038-413D-91DB-589EA734B85C}" type="presOf" srcId="{BF13D785-97B9-4FAC-AADF-70A8BFDA7657}" destId="{A267D02C-2291-480A-96B7-EC945D6A29A2}" srcOrd="0" destOrd="0" presId="urn:microsoft.com/office/officeart/2005/8/layout/hProcess9#2"/>
    <dgm:cxn modelId="{3395C478-FEC9-4715-A4B8-2B138BADA92E}" srcId="{BBA4B40B-64CB-4C20-BA84-5C7E2675C622}" destId="{85199D73-43B3-4A53-92F4-5E5238AE587D}" srcOrd="2" destOrd="0" parTransId="{9537D2BD-0A7F-4249-B2D5-4D3D2C65BE0B}" sibTransId="{996C4C6C-D397-42E5-A651-4C016C5A88F6}"/>
    <dgm:cxn modelId="{230554DB-C888-40EA-93D5-6F6D8C436184}" type="presParOf" srcId="{9E009542-EA4D-4552-B61A-CDECE0AFB124}" destId="{6030A3AF-A010-49BE-B3E5-09C36362D3E5}" srcOrd="0" destOrd="0" presId="urn:microsoft.com/office/officeart/2005/8/layout/hProcess9#2"/>
    <dgm:cxn modelId="{BC80C2F2-9802-4745-9F88-B03304DC62AA}" type="presParOf" srcId="{9E009542-EA4D-4552-B61A-CDECE0AFB124}" destId="{09B37552-A555-4C50-ACD1-A268CDBFDEA1}" srcOrd="1" destOrd="0" presId="urn:microsoft.com/office/officeart/2005/8/layout/hProcess9#2"/>
    <dgm:cxn modelId="{56D55F9F-81B4-456B-9CDF-736C38524630}" type="presParOf" srcId="{09B37552-A555-4C50-ACD1-A268CDBFDEA1}" destId="{A267D02C-2291-480A-96B7-EC945D6A29A2}" srcOrd="0" destOrd="0" presId="urn:microsoft.com/office/officeart/2005/8/layout/hProcess9#2"/>
    <dgm:cxn modelId="{08A60DD7-D410-4027-9C87-4113539D5B1F}" type="presParOf" srcId="{09B37552-A555-4C50-ACD1-A268CDBFDEA1}" destId="{8FCF392F-3E76-456C-BEDA-44FD8DF9D198}" srcOrd="1" destOrd="0" presId="urn:microsoft.com/office/officeart/2005/8/layout/hProcess9#2"/>
    <dgm:cxn modelId="{4285C697-E43A-47AF-B6F2-37802DFC66ED}" type="presParOf" srcId="{09B37552-A555-4C50-ACD1-A268CDBFDEA1}" destId="{2AC2ACC4-F904-44A3-A8A0-2694F4608E35}" srcOrd="2" destOrd="0" presId="urn:microsoft.com/office/officeart/2005/8/layout/hProcess9#2"/>
    <dgm:cxn modelId="{61E02555-5C18-4870-8DAA-8A041DF0923F}" type="presParOf" srcId="{09B37552-A555-4C50-ACD1-A268CDBFDEA1}" destId="{28793BF2-A6F5-4E6E-914B-AD94E9BFB83E}" srcOrd="3" destOrd="0" presId="urn:microsoft.com/office/officeart/2005/8/layout/hProcess9#2"/>
    <dgm:cxn modelId="{1572281D-5178-4597-8507-6F083F883778}" type="presParOf" srcId="{09B37552-A555-4C50-ACD1-A268CDBFDEA1}" destId="{FDD2F85B-E1D1-498F-9636-61BDF2F4CA45}" srcOrd="4" destOrd="0" presId="urn:microsoft.com/office/officeart/2005/8/layout/hProcess9#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55DDF47C-C33D-4D63-BB59-CF0C54736845}" type="doc">
      <dgm:prSet loTypeId="urn:microsoft.com/office/officeart/2005/8/layout/list1#1" loCatId="list" qsTypeId="urn:microsoft.com/office/officeart/2005/8/quickstyle/simple1#7" qsCatId="simple" csTypeId="urn:microsoft.com/office/officeart/2005/8/colors/colorful4#5" csCatId="accent1" phldr="1"/>
      <dgm:spPr/>
      <dgm:t>
        <a:bodyPr/>
        <a:lstStyle/>
        <a:p>
          <a:endParaRPr lang="es-ES"/>
        </a:p>
      </dgm:t>
    </dgm:pt>
    <dgm:pt modelId="{3E24C0B6-6E39-4B47-8521-A87D2020C2CE}">
      <dgm:prSet phldrT="[Texto]" phldr="0" custT="1"/>
      <dgm:spPr/>
      <dgm:t>
        <a:bodyPr vert="horz" wrap="square"/>
        <a:lstStyle/>
        <a:p>
          <a:pPr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s-ES" sz="1800" dirty="0" smtClean="0">
              <a:solidFill>
                <a:schemeClr val="tx1"/>
              </a:solidFill>
            </a:rPr>
            <a:t>Expresar las inquietudes que tengas del trabajo que valorando ¿Qué es lo mas importante? Enuncio hipótesis?</a:t>
          </a:r>
        </a:p>
      </dgm:t>
    </dgm:pt>
    <dgm:pt modelId="{48BADABE-FAB2-4453-B91F-033E8DE64F27}" type="parTrans" cxnId="{1CF647C0-1924-4900-9C19-53290885C12D}">
      <dgm:prSet/>
      <dgm:spPr/>
      <dgm:t>
        <a:bodyPr/>
        <a:lstStyle/>
        <a:p>
          <a:endParaRPr lang="es-ES"/>
        </a:p>
      </dgm:t>
    </dgm:pt>
    <dgm:pt modelId="{44F6CCEF-A3B7-4D5D-AEA8-4FF596034B19}" type="sibTrans" cxnId="{1CF647C0-1924-4900-9C19-53290885C12D}">
      <dgm:prSet/>
      <dgm:spPr/>
      <dgm:t>
        <a:bodyPr/>
        <a:lstStyle/>
        <a:p>
          <a:endParaRPr lang="es-ES"/>
        </a:p>
      </dgm:t>
    </dgm:pt>
    <dgm:pt modelId="{557081FE-205D-4E85-A548-413ED26334A2}">
      <dgm:prSet phldrT="[Texto]" phldr="0" custT="1"/>
      <dgm:spPr/>
      <dgm:t>
        <a:bodyPr vert="horz" wrap="square"/>
        <a:lstStyle/>
        <a:p>
          <a:pPr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s-ES" sz="1800" dirty="0" smtClean="0">
              <a:solidFill>
                <a:schemeClr val="tx1"/>
              </a:solidFill>
            </a:rPr>
            <a:t>Expresar las preocupaciones, dificultades o desacuerdos con algunas de las ideas en cuestión </a:t>
          </a:r>
        </a:p>
      </dgm:t>
    </dgm:pt>
    <dgm:pt modelId="{335FBC36-B2A6-4A42-8E41-276EE2D6D441}" type="parTrans" cxnId="{DA090173-58E7-4D6F-AF1E-E8A3D8432284}">
      <dgm:prSet/>
      <dgm:spPr/>
      <dgm:t>
        <a:bodyPr/>
        <a:lstStyle/>
        <a:p>
          <a:endParaRPr lang="es-ES"/>
        </a:p>
      </dgm:t>
    </dgm:pt>
    <dgm:pt modelId="{D8B16619-C362-4E6A-B576-E6746B34747E}" type="sibTrans" cxnId="{DA090173-58E7-4D6F-AF1E-E8A3D8432284}">
      <dgm:prSet/>
      <dgm:spPr/>
      <dgm:t>
        <a:bodyPr/>
        <a:lstStyle/>
        <a:p>
          <a:endParaRPr lang="es-ES"/>
        </a:p>
      </dgm:t>
    </dgm:pt>
    <dgm:pt modelId="{E4E313FB-2204-4423-A4B6-4EFF6FA05937}">
      <dgm:prSet phldrT="[Texto]" phldr="0" custT="1"/>
      <dgm:spPr/>
      <dgm:t>
        <a:bodyPr vert="horz" wrap="square"/>
        <a:lstStyle/>
        <a:p>
          <a:pPr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s-ES" sz="1800" dirty="0" smtClean="0">
              <a:solidFill>
                <a:schemeClr val="tx1"/>
              </a:solidFill>
            </a:rPr>
            <a:t>Preguntas autenticas ¿ha considerado….? ¿me pregunto si lo que quieres decir es…? ¿tal vez ya presente acerca de esto pero…?</a:t>
          </a:r>
        </a:p>
      </dgm:t>
    </dgm:pt>
    <dgm:pt modelId="{ACB1479C-25DD-495E-8715-0049BDC960ED}" type="parTrans" cxnId="{72E21A04-0B66-4A34-B4BA-255E5D6A76DE}">
      <dgm:prSet/>
      <dgm:spPr/>
      <dgm:t>
        <a:bodyPr/>
        <a:lstStyle/>
        <a:p>
          <a:endParaRPr lang="es-ES"/>
        </a:p>
      </dgm:t>
    </dgm:pt>
    <dgm:pt modelId="{80CF933C-707D-4596-9C86-6E3BC7B7058F}" type="sibTrans" cxnId="{72E21A04-0B66-4A34-B4BA-255E5D6A76DE}">
      <dgm:prSet/>
      <dgm:spPr/>
      <dgm:t>
        <a:bodyPr/>
        <a:lstStyle/>
        <a:p>
          <a:endParaRPr lang="es-ES"/>
        </a:p>
      </dgm:t>
    </dgm:pt>
    <dgm:pt modelId="{863F65CD-9CE9-4680-AAE3-0DAB93F3783B}" type="pres">
      <dgm:prSet presAssocID="{55DDF47C-C33D-4D63-BB59-CF0C54736845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B19B6F2B-2001-47DA-851E-E84BD9087CC2}" type="pres">
      <dgm:prSet presAssocID="{3E24C0B6-6E39-4B47-8521-A87D2020C2CE}" presName="parentLin" presStyleCnt="0"/>
      <dgm:spPr/>
    </dgm:pt>
    <dgm:pt modelId="{A8EB0D95-3B02-4241-8115-EB2BA8D4DFF0}" type="pres">
      <dgm:prSet presAssocID="{3E24C0B6-6E39-4B47-8521-A87D2020C2CE}" presName="parentLeftMargin" presStyleLbl="node1" presStyleIdx="0" presStyleCnt="3"/>
      <dgm:spPr/>
      <dgm:t>
        <a:bodyPr/>
        <a:lstStyle/>
        <a:p>
          <a:endParaRPr lang="es-ES"/>
        </a:p>
      </dgm:t>
    </dgm:pt>
    <dgm:pt modelId="{90969AF8-35FE-4CB6-B370-C304C4D6C08D}" type="pres">
      <dgm:prSet presAssocID="{3E24C0B6-6E39-4B47-8521-A87D2020C2CE}" presName="parentText" presStyleLbl="node1" presStyleIdx="0" presStyleCnt="3" custScaleX="105983" custScaleY="291416" custLinFactY="58150" custLinFactNeighborX="13419" custLinFactNeighborY="100000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10D3355F-A37D-466B-82DF-451067A36AE3}" type="pres">
      <dgm:prSet presAssocID="{3E24C0B6-6E39-4B47-8521-A87D2020C2CE}" presName="negativeSpace" presStyleCnt="0"/>
      <dgm:spPr/>
    </dgm:pt>
    <dgm:pt modelId="{1B17C96D-C8DF-4406-AFFD-2B65FCF4E4F4}" type="pres">
      <dgm:prSet presAssocID="{3E24C0B6-6E39-4B47-8521-A87D2020C2CE}" presName="childText" presStyleLbl="conFgAcc1" presStyleIdx="0" presStyleCnt="3" custScaleY="315919">
        <dgm:presLayoutVars>
          <dgm:bulletEnabled val="1"/>
        </dgm:presLayoutVars>
      </dgm:prSet>
      <dgm:spPr/>
    </dgm:pt>
    <dgm:pt modelId="{754964A4-EB77-446E-800E-7771ECA11ECA}" type="pres">
      <dgm:prSet presAssocID="{44F6CCEF-A3B7-4D5D-AEA8-4FF596034B19}" presName="spaceBetweenRectangles" presStyleCnt="0"/>
      <dgm:spPr/>
    </dgm:pt>
    <dgm:pt modelId="{3AAEA6AF-3473-4C24-B95C-DE5CA1082A4A}" type="pres">
      <dgm:prSet presAssocID="{557081FE-205D-4E85-A548-413ED26334A2}" presName="parentLin" presStyleCnt="0"/>
      <dgm:spPr/>
    </dgm:pt>
    <dgm:pt modelId="{6572DFAB-5748-4690-A703-D0C3902D202F}" type="pres">
      <dgm:prSet presAssocID="{557081FE-205D-4E85-A548-413ED26334A2}" presName="parentLeftMargin" presStyleLbl="node1" presStyleIdx="0" presStyleCnt="3"/>
      <dgm:spPr/>
      <dgm:t>
        <a:bodyPr/>
        <a:lstStyle/>
        <a:p>
          <a:endParaRPr lang="es-ES"/>
        </a:p>
      </dgm:t>
    </dgm:pt>
    <dgm:pt modelId="{2891BF6E-8FFD-4DDF-AFCB-6AF2242A1E5B}" type="pres">
      <dgm:prSet presAssocID="{557081FE-205D-4E85-A548-413ED26334A2}" presName="parentText" presStyleLbl="node1" presStyleIdx="1" presStyleCnt="3" custScaleX="107268" custScaleY="289472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20694B15-668C-4D35-838B-B8A4D60E6941}" type="pres">
      <dgm:prSet presAssocID="{557081FE-205D-4E85-A548-413ED26334A2}" presName="negativeSpace" presStyleCnt="0"/>
      <dgm:spPr/>
    </dgm:pt>
    <dgm:pt modelId="{F9ACE74E-D80F-43B4-8DC8-3B27F2186D61}" type="pres">
      <dgm:prSet presAssocID="{557081FE-205D-4E85-A548-413ED26334A2}" presName="childText" presStyleLbl="conFgAcc1" presStyleIdx="1" presStyleCnt="3">
        <dgm:presLayoutVars>
          <dgm:bulletEnabled val="1"/>
        </dgm:presLayoutVars>
      </dgm:prSet>
      <dgm:spPr/>
    </dgm:pt>
    <dgm:pt modelId="{756F7352-2007-470F-9ED6-FAA3A964DC71}" type="pres">
      <dgm:prSet presAssocID="{D8B16619-C362-4E6A-B576-E6746B34747E}" presName="spaceBetweenRectangles" presStyleCnt="0"/>
      <dgm:spPr/>
    </dgm:pt>
    <dgm:pt modelId="{F73245FD-FEFD-4C11-A346-CCAB1E84E88D}" type="pres">
      <dgm:prSet presAssocID="{E4E313FB-2204-4423-A4B6-4EFF6FA05937}" presName="parentLin" presStyleCnt="0"/>
      <dgm:spPr/>
    </dgm:pt>
    <dgm:pt modelId="{C27082CE-CC1F-43F3-B82E-AD1F0EC5598C}" type="pres">
      <dgm:prSet presAssocID="{E4E313FB-2204-4423-A4B6-4EFF6FA05937}" presName="parentLeftMargin" presStyleLbl="node1" presStyleIdx="1" presStyleCnt="3"/>
      <dgm:spPr/>
      <dgm:t>
        <a:bodyPr/>
        <a:lstStyle/>
        <a:p>
          <a:endParaRPr lang="es-ES"/>
        </a:p>
      </dgm:t>
    </dgm:pt>
    <dgm:pt modelId="{5C422912-7CC8-4708-BA61-37AF58634693}" type="pres">
      <dgm:prSet presAssocID="{E4E313FB-2204-4423-A4B6-4EFF6FA05937}" presName="parentText" presStyleLbl="node1" presStyleIdx="2" presStyleCnt="3" custScaleX="110139" custScaleY="336630" custLinFactNeighborX="-11817" custLinFactNeighborY="14543">
        <dgm:presLayoutVars>
          <dgm:chMax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657692DA-1E09-4296-A4E0-A45DB7115370}" type="pres">
      <dgm:prSet presAssocID="{E4E313FB-2204-4423-A4B6-4EFF6FA05937}" presName="negativeSpace" presStyleCnt="0"/>
      <dgm:spPr/>
    </dgm:pt>
    <dgm:pt modelId="{B6ADA44A-A5F5-478B-972F-220353C1E091}" type="pres">
      <dgm:prSet presAssocID="{E4E313FB-2204-4423-A4B6-4EFF6FA05937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C2D8F18F-D1A0-4B5C-805B-E587982D546A}" type="presOf" srcId="{3E24C0B6-6E39-4B47-8521-A87D2020C2CE}" destId="{A8EB0D95-3B02-4241-8115-EB2BA8D4DFF0}" srcOrd="0" destOrd="0" presId="urn:microsoft.com/office/officeart/2005/8/layout/list1#1"/>
    <dgm:cxn modelId="{F3ABFC09-F27C-4153-8882-F1304F33735C}" type="presOf" srcId="{55DDF47C-C33D-4D63-BB59-CF0C54736845}" destId="{863F65CD-9CE9-4680-AAE3-0DAB93F3783B}" srcOrd="0" destOrd="0" presId="urn:microsoft.com/office/officeart/2005/8/layout/list1#1"/>
    <dgm:cxn modelId="{9A638CB4-FCE0-4570-BAE6-8F5ED28DCCC6}" type="presOf" srcId="{3E24C0B6-6E39-4B47-8521-A87D2020C2CE}" destId="{90969AF8-35FE-4CB6-B370-C304C4D6C08D}" srcOrd="1" destOrd="0" presId="urn:microsoft.com/office/officeart/2005/8/layout/list1#1"/>
    <dgm:cxn modelId="{C1819C95-9E95-4A28-A5F8-52B2EB28AA42}" type="presOf" srcId="{557081FE-205D-4E85-A548-413ED26334A2}" destId="{2891BF6E-8FFD-4DDF-AFCB-6AF2242A1E5B}" srcOrd="1" destOrd="0" presId="urn:microsoft.com/office/officeart/2005/8/layout/list1#1"/>
    <dgm:cxn modelId="{476D3BB3-2561-4440-8F50-910726B0E4B5}" type="presOf" srcId="{557081FE-205D-4E85-A548-413ED26334A2}" destId="{6572DFAB-5748-4690-A703-D0C3902D202F}" srcOrd="0" destOrd="0" presId="urn:microsoft.com/office/officeart/2005/8/layout/list1#1"/>
    <dgm:cxn modelId="{8939D81E-1134-424C-BB85-1FEFA2509F33}" type="presOf" srcId="{E4E313FB-2204-4423-A4B6-4EFF6FA05937}" destId="{5C422912-7CC8-4708-BA61-37AF58634693}" srcOrd="1" destOrd="0" presId="urn:microsoft.com/office/officeart/2005/8/layout/list1#1"/>
    <dgm:cxn modelId="{72E21A04-0B66-4A34-B4BA-255E5D6A76DE}" srcId="{55DDF47C-C33D-4D63-BB59-CF0C54736845}" destId="{E4E313FB-2204-4423-A4B6-4EFF6FA05937}" srcOrd="2" destOrd="0" parTransId="{ACB1479C-25DD-495E-8715-0049BDC960ED}" sibTransId="{80CF933C-707D-4596-9C86-6E3BC7B7058F}"/>
    <dgm:cxn modelId="{E7CC584E-54FE-4AF2-A905-004B03800F7D}" type="presOf" srcId="{E4E313FB-2204-4423-A4B6-4EFF6FA05937}" destId="{C27082CE-CC1F-43F3-B82E-AD1F0EC5598C}" srcOrd="0" destOrd="0" presId="urn:microsoft.com/office/officeart/2005/8/layout/list1#1"/>
    <dgm:cxn modelId="{1CF647C0-1924-4900-9C19-53290885C12D}" srcId="{55DDF47C-C33D-4D63-BB59-CF0C54736845}" destId="{3E24C0B6-6E39-4B47-8521-A87D2020C2CE}" srcOrd="0" destOrd="0" parTransId="{48BADABE-FAB2-4453-B91F-033E8DE64F27}" sibTransId="{44F6CCEF-A3B7-4D5D-AEA8-4FF596034B19}"/>
    <dgm:cxn modelId="{DA090173-58E7-4D6F-AF1E-E8A3D8432284}" srcId="{55DDF47C-C33D-4D63-BB59-CF0C54736845}" destId="{557081FE-205D-4E85-A548-413ED26334A2}" srcOrd="1" destOrd="0" parTransId="{335FBC36-B2A6-4A42-8E41-276EE2D6D441}" sibTransId="{D8B16619-C362-4E6A-B576-E6746B34747E}"/>
    <dgm:cxn modelId="{91EC382E-6DFD-4058-8B2E-14580EF63A97}" type="presParOf" srcId="{863F65CD-9CE9-4680-AAE3-0DAB93F3783B}" destId="{B19B6F2B-2001-47DA-851E-E84BD9087CC2}" srcOrd="0" destOrd="0" presId="urn:microsoft.com/office/officeart/2005/8/layout/list1#1"/>
    <dgm:cxn modelId="{B1BDFE7B-0E69-48D1-A660-587C05FED75E}" type="presParOf" srcId="{B19B6F2B-2001-47DA-851E-E84BD9087CC2}" destId="{A8EB0D95-3B02-4241-8115-EB2BA8D4DFF0}" srcOrd="0" destOrd="0" presId="urn:microsoft.com/office/officeart/2005/8/layout/list1#1"/>
    <dgm:cxn modelId="{2A48C147-CDB1-4A75-9B50-3DEF058251D6}" type="presParOf" srcId="{B19B6F2B-2001-47DA-851E-E84BD9087CC2}" destId="{90969AF8-35FE-4CB6-B370-C304C4D6C08D}" srcOrd="1" destOrd="0" presId="urn:microsoft.com/office/officeart/2005/8/layout/list1#1"/>
    <dgm:cxn modelId="{458CC57F-75E8-4B01-9519-B4457B1632A6}" type="presParOf" srcId="{863F65CD-9CE9-4680-AAE3-0DAB93F3783B}" destId="{10D3355F-A37D-466B-82DF-451067A36AE3}" srcOrd="1" destOrd="0" presId="urn:microsoft.com/office/officeart/2005/8/layout/list1#1"/>
    <dgm:cxn modelId="{ADBDBBDB-885D-485E-9D4D-14DEBE6D9823}" type="presParOf" srcId="{863F65CD-9CE9-4680-AAE3-0DAB93F3783B}" destId="{1B17C96D-C8DF-4406-AFFD-2B65FCF4E4F4}" srcOrd="2" destOrd="0" presId="urn:microsoft.com/office/officeart/2005/8/layout/list1#1"/>
    <dgm:cxn modelId="{D1D723D3-1286-44A1-8134-99BF796FDF89}" type="presParOf" srcId="{863F65CD-9CE9-4680-AAE3-0DAB93F3783B}" destId="{754964A4-EB77-446E-800E-7771ECA11ECA}" srcOrd="3" destOrd="0" presId="urn:microsoft.com/office/officeart/2005/8/layout/list1#1"/>
    <dgm:cxn modelId="{521039EB-7932-4776-B0C1-BD2AAFC0A56A}" type="presParOf" srcId="{863F65CD-9CE9-4680-AAE3-0DAB93F3783B}" destId="{3AAEA6AF-3473-4C24-B95C-DE5CA1082A4A}" srcOrd="4" destOrd="0" presId="urn:microsoft.com/office/officeart/2005/8/layout/list1#1"/>
    <dgm:cxn modelId="{1BB81819-0558-4E63-93E3-205B252C7CB0}" type="presParOf" srcId="{3AAEA6AF-3473-4C24-B95C-DE5CA1082A4A}" destId="{6572DFAB-5748-4690-A703-D0C3902D202F}" srcOrd="0" destOrd="0" presId="urn:microsoft.com/office/officeart/2005/8/layout/list1#1"/>
    <dgm:cxn modelId="{923C3AF4-ABF6-41DC-A2F5-217E494B1773}" type="presParOf" srcId="{3AAEA6AF-3473-4C24-B95C-DE5CA1082A4A}" destId="{2891BF6E-8FFD-4DDF-AFCB-6AF2242A1E5B}" srcOrd="1" destOrd="0" presId="urn:microsoft.com/office/officeart/2005/8/layout/list1#1"/>
    <dgm:cxn modelId="{19485802-58F7-4B32-AE4F-4C555F3588CC}" type="presParOf" srcId="{863F65CD-9CE9-4680-AAE3-0DAB93F3783B}" destId="{20694B15-668C-4D35-838B-B8A4D60E6941}" srcOrd="5" destOrd="0" presId="urn:microsoft.com/office/officeart/2005/8/layout/list1#1"/>
    <dgm:cxn modelId="{92A6D320-D96A-4D0D-90C3-D505931999A8}" type="presParOf" srcId="{863F65CD-9CE9-4680-AAE3-0DAB93F3783B}" destId="{F9ACE74E-D80F-43B4-8DC8-3B27F2186D61}" srcOrd="6" destOrd="0" presId="urn:microsoft.com/office/officeart/2005/8/layout/list1#1"/>
    <dgm:cxn modelId="{3AE3D167-79CB-4925-876B-250285C9C724}" type="presParOf" srcId="{863F65CD-9CE9-4680-AAE3-0DAB93F3783B}" destId="{756F7352-2007-470F-9ED6-FAA3A964DC71}" srcOrd="7" destOrd="0" presId="urn:microsoft.com/office/officeart/2005/8/layout/list1#1"/>
    <dgm:cxn modelId="{C96D8B38-0D75-4BDB-AE83-0326B94C200D}" type="presParOf" srcId="{863F65CD-9CE9-4680-AAE3-0DAB93F3783B}" destId="{F73245FD-FEFD-4C11-A346-CCAB1E84E88D}" srcOrd="8" destOrd="0" presId="urn:microsoft.com/office/officeart/2005/8/layout/list1#1"/>
    <dgm:cxn modelId="{96306519-03B4-4E0A-8434-F2911D4E5B6F}" type="presParOf" srcId="{F73245FD-FEFD-4C11-A346-CCAB1E84E88D}" destId="{C27082CE-CC1F-43F3-B82E-AD1F0EC5598C}" srcOrd="0" destOrd="0" presId="urn:microsoft.com/office/officeart/2005/8/layout/list1#1"/>
    <dgm:cxn modelId="{42C8FED8-35C1-44D0-BDD5-0C2D0C186CEC}" type="presParOf" srcId="{F73245FD-FEFD-4C11-A346-CCAB1E84E88D}" destId="{5C422912-7CC8-4708-BA61-37AF58634693}" srcOrd="1" destOrd="0" presId="urn:microsoft.com/office/officeart/2005/8/layout/list1#1"/>
    <dgm:cxn modelId="{400AAD08-06F6-40AA-9BF5-903A9A8137CA}" type="presParOf" srcId="{863F65CD-9CE9-4680-AAE3-0DAB93F3783B}" destId="{657692DA-1E09-4296-A4E0-A45DB7115370}" srcOrd="9" destOrd="0" presId="urn:microsoft.com/office/officeart/2005/8/layout/list1#1"/>
    <dgm:cxn modelId="{11717387-38EC-4046-8ACA-CCFAC5E88FE1}" type="presParOf" srcId="{863F65CD-9CE9-4680-AAE3-0DAB93F3783B}" destId="{B6ADA44A-A5F5-478B-972F-220353C1E091}" srcOrd="10" destOrd="0" presId="urn:microsoft.com/office/officeart/2005/8/layout/list1#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A48804BE-10A1-437F-B0D6-3EEDFF5F7794}" type="doc">
      <dgm:prSet loTypeId="urn:microsoft.com/office/officeart/2005/8/layout/hList6" loCatId="list" qsTypeId="urn:microsoft.com/office/officeart/2005/8/quickstyle/simple1#8" qsCatId="simple" csTypeId="urn:microsoft.com/office/officeart/2005/8/colors/colorful4#6" csCatId="accent1" phldr="1"/>
      <dgm:spPr/>
      <dgm:t>
        <a:bodyPr/>
        <a:lstStyle/>
        <a:p>
          <a:endParaRPr lang="es-ES"/>
        </a:p>
      </dgm:t>
    </dgm:pt>
    <dgm:pt modelId="{CEDDD58E-6795-4FC1-B8FF-28C65535E101}">
      <dgm:prSet phldrT="[Texto]" phldr="0" custT="0"/>
      <dgm:spPr/>
      <dgm:t>
        <a:bodyPr vert="horz" wrap="square"/>
        <a:lstStyle/>
        <a:p>
          <a:pPr algn="just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s-ES" dirty="0" smtClean="0">
              <a:solidFill>
                <a:schemeClr val="tx1"/>
              </a:solidFill>
            </a:rPr>
            <a:t>Ofrecer sugerencias para resolver los problemas / dificultades que se han identificado.</a:t>
          </a:r>
        </a:p>
      </dgm:t>
    </dgm:pt>
    <dgm:pt modelId="{97C07A45-D539-4FC0-98C2-C218716F5B93}" type="parTrans" cxnId="{CD0C4B9F-552B-451F-A126-B812CBF70D03}">
      <dgm:prSet/>
      <dgm:spPr/>
      <dgm:t>
        <a:bodyPr/>
        <a:lstStyle/>
        <a:p>
          <a:endParaRPr lang="es-ES"/>
        </a:p>
      </dgm:t>
    </dgm:pt>
    <dgm:pt modelId="{E1CFD7D6-30D2-4CE6-9E1A-DDD2058EEAA1}" type="sibTrans" cxnId="{CD0C4B9F-552B-451F-A126-B812CBF70D03}">
      <dgm:prSet/>
      <dgm:spPr/>
      <dgm:t>
        <a:bodyPr/>
        <a:lstStyle/>
        <a:p>
          <a:endParaRPr lang="es-ES"/>
        </a:p>
      </dgm:t>
    </dgm:pt>
    <dgm:pt modelId="{72716E01-9D08-43D6-AC1B-7144C711AFE7}">
      <dgm:prSet phldrT="[Texto]" phldr="0" custT="0"/>
      <dgm:spPr/>
      <dgm:t>
        <a:bodyPr vert="horz" wrap="square"/>
        <a:lstStyle/>
        <a:p>
          <a:pPr algn="just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s-ES" dirty="0" smtClean="0">
              <a:solidFill>
                <a:schemeClr val="tx1"/>
              </a:solidFill>
            </a:rPr>
            <a:t>Recomendar para apoyar al estudiante en el desarrollo de su comprensión y mejora de sus trabajos.</a:t>
          </a:r>
        </a:p>
      </dgm:t>
    </dgm:pt>
    <dgm:pt modelId="{83B221C4-F086-48E0-8AE0-CBE78B9F8A90}" type="parTrans" cxnId="{A076FEFE-5FE9-4D0A-AE53-9B3B991497FF}">
      <dgm:prSet/>
      <dgm:spPr/>
      <dgm:t>
        <a:bodyPr/>
        <a:lstStyle/>
        <a:p>
          <a:endParaRPr lang="es-ES"/>
        </a:p>
      </dgm:t>
    </dgm:pt>
    <dgm:pt modelId="{4271CAE1-3F15-4DED-B8E7-9D7AD1A7CB2F}" type="sibTrans" cxnId="{A076FEFE-5FE9-4D0A-AE53-9B3B991497FF}">
      <dgm:prSet/>
      <dgm:spPr/>
      <dgm:t>
        <a:bodyPr/>
        <a:lstStyle/>
        <a:p>
          <a:endParaRPr lang="es-ES"/>
        </a:p>
      </dgm:t>
    </dgm:pt>
    <dgm:pt modelId="{1B7256CF-D1E2-4259-8FD3-101CA32C6A34}">
      <dgm:prSet phldrT="[Texto]" phldr="0" custT="0"/>
      <dgm:spPr/>
      <dgm:t>
        <a:bodyPr vert="horz" wrap="square"/>
        <a:lstStyle/>
        <a:p>
          <a:pPr algn="just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s-ES" dirty="0" smtClean="0">
              <a:solidFill>
                <a:schemeClr val="tx1"/>
              </a:solidFill>
            </a:rPr>
            <a:t>Establecer líneas de acción para que el estudiante pueda utilizarlas como retroalimentación positiva.</a:t>
          </a:r>
        </a:p>
      </dgm:t>
    </dgm:pt>
    <dgm:pt modelId="{C2D75E9A-6928-48AA-98C4-C41700615DB1}" type="parTrans" cxnId="{A1DF01F5-3FF3-485A-B41D-B50FC2DD0301}">
      <dgm:prSet/>
      <dgm:spPr/>
      <dgm:t>
        <a:bodyPr/>
        <a:lstStyle/>
        <a:p>
          <a:endParaRPr lang="es-ES"/>
        </a:p>
      </dgm:t>
    </dgm:pt>
    <dgm:pt modelId="{35A54755-A783-4C4A-8183-A1AF574E0D09}" type="sibTrans" cxnId="{A1DF01F5-3FF3-485A-B41D-B50FC2DD0301}">
      <dgm:prSet/>
      <dgm:spPr/>
      <dgm:t>
        <a:bodyPr/>
        <a:lstStyle/>
        <a:p>
          <a:endParaRPr lang="es-ES"/>
        </a:p>
      </dgm:t>
    </dgm:pt>
    <dgm:pt modelId="{7BD2F721-E8DA-4E21-8AD4-B839D02A7C36}" type="pres">
      <dgm:prSet presAssocID="{A48804BE-10A1-437F-B0D6-3EEDFF5F7794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F7BB009B-0134-4114-92FD-D6787D4456B8}" type="pres">
      <dgm:prSet presAssocID="{CEDDD58E-6795-4FC1-B8FF-28C65535E101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0065B203-EFDD-4A10-8E36-4A746DA321E4}" type="pres">
      <dgm:prSet presAssocID="{E1CFD7D6-30D2-4CE6-9E1A-DDD2058EEAA1}" presName="sibTrans" presStyleCnt="0"/>
      <dgm:spPr/>
    </dgm:pt>
    <dgm:pt modelId="{2E9D995B-653D-476A-8EE7-8479C901EE29}" type="pres">
      <dgm:prSet presAssocID="{72716E01-9D08-43D6-AC1B-7144C711AFE7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B5D5EBC4-3E31-4E37-993A-849A9C94E12D}" type="pres">
      <dgm:prSet presAssocID="{4271CAE1-3F15-4DED-B8E7-9D7AD1A7CB2F}" presName="sibTrans" presStyleCnt="0"/>
      <dgm:spPr/>
    </dgm:pt>
    <dgm:pt modelId="{3711C62F-25D9-4E7A-A00E-9DCA03C88FDB}" type="pres">
      <dgm:prSet presAssocID="{1B7256CF-D1E2-4259-8FD3-101CA32C6A34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A076FEFE-5FE9-4D0A-AE53-9B3B991497FF}" srcId="{A48804BE-10A1-437F-B0D6-3EEDFF5F7794}" destId="{72716E01-9D08-43D6-AC1B-7144C711AFE7}" srcOrd="1" destOrd="0" parTransId="{83B221C4-F086-48E0-8AE0-CBE78B9F8A90}" sibTransId="{4271CAE1-3F15-4DED-B8E7-9D7AD1A7CB2F}"/>
    <dgm:cxn modelId="{F06CB895-7099-4E32-9A3E-659641A6C886}" type="presOf" srcId="{72716E01-9D08-43D6-AC1B-7144C711AFE7}" destId="{2E9D995B-653D-476A-8EE7-8479C901EE29}" srcOrd="0" destOrd="0" presId="urn:microsoft.com/office/officeart/2005/8/layout/hList6"/>
    <dgm:cxn modelId="{D02C7243-4B13-402C-B96B-8AC1CA440506}" type="presOf" srcId="{1B7256CF-D1E2-4259-8FD3-101CA32C6A34}" destId="{3711C62F-25D9-4E7A-A00E-9DCA03C88FDB}" srcOrd="0" destOrd="0" presId="urn:microsoft.com/office/officeart/2005/8/layout/hList6"/>
    <dgm:cxn modelId="{CD0C4B9F-552B-451F-A126-B812CBF70D03}" srcId="{A48804BE-10A1-437F-B0D6-3EEDFF5F7794}" destId="{CEDDD58E-6795-4FC1-B8FF-28C65535E101}" srcOrd="0" destOrd="0" parTransId="{97C07A45-D539-4FC0-98C2-C218716F5B93}" sibTransId="{E1CFD7D6-30D2-4CE6-9E1A-DDD2058EEAA1}"/>
    <dgm:cxn modelId="{AD5E0D7B-9340-4190-98E5-68963A5FD22F}" type="presOf" srcId="{CEDDD58E-6795-4FC1-B8FF-28C65535E101}" destId="{F7BB009B-0134-4114-92FD-D6787D4456B8}" srcOrd="0" destOrd="0" presId="urn:microsoft.com/office/officeart/2005/8/layout/hList6"/>
    <dgm:cxn modelId="{A1DF01F5-3FF3-485A-B41D-B50FC2DD0301}" srcId="{A48804BE-10A1-437F-B0D6-3EEDFF5F7794}" destId="{1B7256CF-D1E2-4259-8FD3-101CA32C6A34}" srcOrd="2" destOrd="0" parTransId="{C2D75E9A-6928-48AA-98C4-C41700615DB1}" sibTransId="{35A54755-A783-4C4A-8183-A1AF574E0D09}"/>
    <dgm:cxn modelId="{B226403F-B1AF-4353-8E5C-8951EB2ADD46}" type="presOf" srcId="{A48804BE-10A1-437F-B0D6-3EEDFF5F7794}" destId="{7BD2F721-E8DA-4E21-8AD4-B839D02A7C36}" srcOrd="0" destOrd="0" presId="urn:microsoft.com/office/officeart/2005/8/layout/hList6"/>
    <dgm:cxn modelId="{AA04A906-C9FD-4C32-82F7-AE17A55E3BAF}" type="presParOf" srcId="{7BD2F721-E8DA-4E21-8AD4-B839D02A7C36}" destId="{F7BB009B-0134-4114-92FD-D6787D4456B8}" srcOrd="0" destOrd="0" presId="urn:microsoft.com/office/officeart/2005/8/layout/hList6"/>
    <dgm:cxn modelId="{B6CBF378-B03C-42B2-B3F1-5DFD759A5873}" type="presParOf" srcId="{7BD2F721-E8DA-4E21-8AD4-B839D02A7C36}" destId="{0065B203-EFDD-4A10-8E36-4A746DA321E4}" srcOrd="1" destOrd="0" presId="urn:microsoft.com/office/officeart/2005/8/layout/hList6"/>
    <dgm:cxn modelId="{DA152A50-8582-4EEE-930F-76E8A2D6D1CB}" type="presParOf" srcId="{7BD2F721-E8DA-4E21-8AD4-B839D02A7C36}" destId="{2E9D995B-653D-476A-8EE7-8479C901EE29}" srcOrd="2" destOrd="0" presId="urn:microsoft.com/office/officeart/2005/8/layout/hList6"/>
    <dgm:cxn modelId="{745AF571-16EC-4CEA-A223-AB863CBCB7FA}" type="presParOf" srcId="{7BD2F721-E8DA-4E21-8AD4-B839D02A7C36}" destId="{B5D5EBC4-3E31-4E37-993A-849A9C94E12D}" srcOrd="3" destOrd="0" presId="urn:microsoft.com/office/officeart/2005/8/layout/hList6"/>
    <dgm:cxn modelId="{0AC88AA5-80E8-4453-AE9C-F011A50E0154}" type="presParOf" srcId="{7BD2F721-E8DA-4E21-8AD4-B839D02A7C36}" destId="{3711C62F-25D9-4E7A-A00E-9DCA03C88FDB}" srcOrd="4" destOrd="0" presId="urn:microsoft.com/office/officeart/2005/8/layout/hList6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4198B00-D50B-4937-9EE8-F0A120320370}" type="doc">
      <dgm:prSet loTypeId="urn:microsoft.com/office/officeart/2005/8/layout/radial6#1" loCatId="cycle" qsTypeId="urn:microsoft.com/office/officeart/2005/8/quickstyle/simple1#2" qsCatId="simple" csTypeId="urn:microsoft.com/office/officeart/2005/8/colors/colorful4#1" csCatId="colorful" phldr="1"/>
      <dgm:spPr/>
      <dgm:t>
        <a:bodyPr/>
        <a:lstStyle/>
        <a:p>
          <a:endParaRPr lang="es-PE"/>
        </a:p>
      </dgm:t>
    </dgm:pt>
    <dgm:pt modelId="{F16ADBDC-8F23-4086-9C4D-855168133218}">
      <dgm:prSet phldrT="[Texto]" custT="1"/>
      <dgm:spPr>
        <a:xfrm>
          <a:off x="4217717" y="1957327"/>
          <a:ext cx="2212423" cy="2212423"/>
        </a:xfrm>
        <a:prstGeom prst="ellipse">
          <a:avLst/>
        </a:prstGeom>
        <a:solidFill>
          <a:srgbClr val="7030A0"/>
        </a:solidFill>
      </dgm:spPr>
      <dgm:t>
        <a:bodyPr/>
        <a:lstStyle/>
        <a:p>
          <a:pPr>
            <a:buNone/>
          </a:pPr>
          <a:r>
            <a:rPr lang="es-PE" sz="1600" b="1" smtClean="0">
              <a:latin typeface="+mn-lt"/>
              <a:ea typeface="+mn-ea"/>
              <a:cs typeface="+mn-cs"/>
            </a:rPr>
            <a:t>EVALUACIÓN PARA EL APRENDIZAJE</a:t>
          </a:r>
          <a:endParaRPr lang="es-PE" sz="1600" b="1" dirty="0">
            <a:latin typeface="+mn-lt"/>
            <a:ea typeface="+mn-ea"/>
            <a:cs typeface="+mn-cs"/>
          </a:endParaRPr>
        </a:p>
      </dgm:t>
    </dgm:pt>
    <dgm:pt modelId="{99A8292D-5FEF-4401-84EF-311AA2F5BB3B}" type="parTrans" cxnId="{A8D32E09-6611-4EAA-A044-22ED00FE8B4C}">
      <dgm:prSet/>
      <dgm:spPr/>
      <dgm:t>
        <a:bodyPr/>
        <a:lstStyle/>
        <a:p>
          <a:endParaRPr lang="es-PE"/>
        </a:p>
      </dgm:t>
    </dgm:pt>
    <dgm:pt modelId="{8B49DCBE-DB55-4F00-A197-205CE744F347}" type="sibTrans" cxnId="{A8D32E09-6611-4EAA-A044-22ED00FE8B4C}">
      <dgm:prSet/>
      <dgm:spPr/>
      <dgm:t>
        <a:bodyPr/>
        <a:lstStyle/>
        <a:p>
          <a:endParaRPr lang="es-PE"/>
        </a:p>
      </dgm:t>
    </dgm:pt>
    <dgm:pt modelId="{07B5878B-9280-4C84-B6A6-C14A2F3F9589}">
      <dgm:prSet phldrT="[Texto]" custT="1">
        <dgm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dgm:style>
      </dgm:prSet>
      <dgm:spPr>
        <a:xfrm>
          <a:off x="4090394" y="1"/>
          <a:ext cx="2157488" cy="1892785"/>
        </a:xfrm>
        <a:prstGeom prst="ellipse">
          <a:avLst/>
        </a:prstGeom>
        <a:solidFill>
          <a:srgbClr val="FFFF00"/>
        </a:solidFill>
      </dgm:spPr>
      <dgm:t>
        <a:bodyPr/>
        <a:lstStyle/>
        <a:p>
          <a:pPr>
            <a:buNone/>
          </a:pPr>
          <a:r>
            <a:rPr lang="es-PE" sz="1600" b="1" dirty="0" smtClean="0">
              <a:latin typeface="+mn-lt"/>
              <a:ea typeface="+mn-ea"/>
              <a:cs typeface="+mn-cs"/>
            </a:rPr>
            <a:t>¿Qué se espera que logre el estudiante?</a:t>
          </a:r>
          <a:endParaRPr lang="es-PE" sz="1600" b="1" dirty="0">
            <a:latin typeface="+mn-lt"/>
            <a:ea typeface="+mn-ea"/>
            <a:cs typeface="+mn-cs"/>
          </a:endParaRPr>
        </a:p>
      </dgm:t>
    </dgm:pt>
    <dgm:pt modelId="{883F2F74-2995-41BE-B56E-80DBDC7BF836}" type="parTrans" cxnId="{9DDE74B1-72E0-45F6-B6DA-D19230E26545}">
      <dgm:prSet/>
      <dgm:spPr/>
      <dgm:t>
        <a:bodyPr/>
        <a:lstStyle/>
        <a:p>
          <a:endParaRPr lang="es-PE"/>
        </a:p>
      </dgm:t>
    </dgm:pt>
    <dgm:pt modelId="{87A7B380-F6D3-4773-9A82-59B016E6F840}" type="sibTrans" cxnId="{9DDE74B1-72E0-45F6-B6DA-D19230E26545}">
      <dgm:prSet/>
      <dgm:spPr>
        <a:xfrm>
          <a:off x="2968027" y="881813"/>
          <a:ext cx="4809130" cy="4809130"/>
        </a:xfrm>
        <a:prstGeom prst="blockArc">
          <a:avLst>
            <a:gd name="adj1" fmla="val 15901849"/>
            <a:gd name="adj2" fmla="val 21310772"/>
            <a:gd name="adj3" fmla="val 4637"/>
          </a:avLst>
        </a:prstGeom>
      </dgm:spPr>
      <dgm:t>
        <a:bodyPr/>
        <a:lstStyle/>
        <a:p>
          <a:endParaRPr lang="es-PE"/>
        </a:p>
      </dgm:t>
    </dgm:pt>
    <dgm:pt modelId="{12F63483-6A9C-4419-9445-C828EA3EE19F}">
      <dgm:prSet phldrT="[Texto]" phldr="0" custT="1">
        <dgm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dgm:style>
      </dgm:prSet>
      <dgm:spPr>
        <a:xfrm>
          <a:off x="6449112" y="2158124"/>
          <a:ext cx="2527967" cy="1861749"/>
        </a:xfrm>
        <a:prstGeom prst="ellipse">
          <a:avLst/>
        </a:prstGeom>
        <a:solidFill>
          <a:srgbClr val="00FFFF"/>
        </a:solidFill>
      </dgm:spPr>
      <dgm:t>
        <a:bodyPr vert="horz" wrap="square"/>
        <a:lstStyle/>
        <a:p>
          <a:pPr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s-PE" sz="1400" b="1" dirty="0" smtClean="0">
              <a:latin typeface="+mn-lt"/>
              <a:ea typeface="+mn-ea"/>
              <a:cs typeface="+mn-cs"/>
            </a:rPr>
            <a:t>¿Qué sabe hacer o qué ha aprendido el estudiante?</a:t>
          </a:r>
        </a:p>
      </dgm:t>
    </dgm:pt>
    <dgm:pt modelId="{FCDE3361-9555-414D-817B-13A647956047}" type="parTrans" cxnId="{4388AA79-A094-4FD5-843D-A89FDC3C9A4F}">
      <dgm:prSet/>
      <dgm:spPr/>
      <dgm:t>
        <a:bodyPr/>
        <a:lstStyle/>
        <a:p>
          <a:endParaRPr lang="es-PE"/>
        </a:p>
      </dgm:t>
    </dgm:pt>
    <dgm:pt modelId="{05A880CC-7124-4F1A-9586-B414544BA7AE}" type="sibTrans" cxnId="{4388AA79-A094-4FD5-843D-A89FDC3C9A4F}">
      <dgm:prSet/>
      <dgm:spPr>
        <a:xfrm>
          <a:off x="2963333" y="554198"/>
          <a:ext cx="4809130" cy="4809130"/>
        </a:xfrm>
        <a:prstGeom prst="blockArc">
          <a:avLst>
            <a:gd name="adj1" fmla="val 190712"/>
            <a:gd name="adj2" fmla="val 10288029"/>
            <a:gd name="adj3" fmla="val 4637"/>
          </a:avLst>
        </a:prstGeom>
      </dgm:spPr>
      <dgm:t>
        <a:bodyPr/>
        <a:lstStyle/>
        <a:p>
          <a:endParaRPr lang="es-PE"/>
        </a:p>
      </dgm:t>
    </dgm:pt>
    <dgm:pt modelId="{06CD12A1-EE36-4213-92F5-1536EBF5900B}">
      <dgm:prSet phldrT="[Texto]" custT="1">
        <dgm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dgm:style>
      </dgm:prSet>
      <dgm:spPr>
        <a:xfrm>
          <a:off x="1897617" y="2406379"/>
          <a:ext cx="2294935" cy="1801784"/>
        </a:xfrm>
        <a:prstGeom prst="ellipse">
          <a:avLst/>
        </a:prstGeom>
        <a:solidFill>
          <a:srgbClr val="FFC000"/>
        </a:solidFill>
      </dgm:spPr>
      <dgm:t>
        <a:bodyPr/>
        <a:lstStyle/>
        <a:p>
          <a:pPr>
            <a:buNone/>
          </a:pPr>
          <a:r>
            <a:rPr lang="es-PE" sz="1600" b="1" dirty="0" smtClean="0">
              <a:latin typeface="+mn-lt"/>
              <a:ea typeface="+mn-ea"/>
              <a:cs typeface="+mn-cs"/>
            </a:rPr>
            <a:t>¿Qué debe hacer para seguir aprendiendo?</a:t>
          </a:r>
          <a:endParaRPr lang="es-PE" sz="1600" b="1" dirty="0">
            <a:latin typeface="+mn-lt"/>
            <a:ea typeface="+mn-ea"/>
            <a:cs typeface="+mn-cs"/>
          </a:endParaRPr>
        </a:p>
      </dgm:t>
    </dgm:pt>
    <dgm:pt modelId="{D6B568B0-83C8-435E-A739-FC2D7E30AE1D}" type="parTrans" cxnId="{9C512654-DF1E-4F00-B945-4F8278B0F066}">
      <dgm:prSet/>
      <dgm:spPr/>
      <dgm:t>
        <a:bodyPr/>
        <a:lstStyle/>
        <a:p>
          <a:endParaRPr lang="es-PE"/>
        </a:p>
      </dgm:t>
    </dgm:pt>
    <dgm:pt modelId="{5F4CA3F0-9E18-48F2-9106-D4D3659EF044}" type="sibTrans" cxnId="{9C512654-DF1E-4F00-B945-4F8278B0F066}">
      <dgm:prSet/>
      <dgm:spPr>
        <a:xfrm>
          <a:off x="2644358" y="879873"/>
          <a:ext cx="4809130" cy="4809130"/>
        </a:xfrm>
        <a:prstGeom prst="blockArc">
          <a:avLst>
            <a:gd name="adj1" fmla="val 10766581"/>
            <a:gd name="adj2" fmla="val 15870700"/>
            <a:gd name="adj3" fmla="val 4637"/>
          </a:avLst>
        </a:prstGeom>
      </dgm:spPr>
      <dgm:t>
        <a:bodyPr/>
        <a:lstStyle/>
        <a:p>
          <a:endParaRPr lang="es-PE"/>
        </a:p>
      </dgm:t>
    </dgm:pt>
    <dgm:pt modelId="{40FDD080-B2E3-4F2A-A0A4-158660C172C5}" type="pres">
      <dgm:prSet presAssocID="{84198B00-D50B-4937-9EE8-F0A120320370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C84E14F8-A31F-4383-9AAA-1CBA5ED3B7A3}" type="pres">
      <dgm:prSet presAssocID="{F16ADBDC-8F23-4086-9C4D-855168133218}" presName="centerShape" presStyleLbl="node0" presStyleIdx="0" presStyleCnt="1" custScaleX="107223" custScaleY="90614" custLinFactNeighborX="-2768" custLinFactNeighborY="-3164"/>
      <dgm:spPr/>
      <dgm:t>
        <a:bodyPr/>
        <a:lstStyle/>
        <a:p>
          <a:endParaRPr lang="es-ES"/>
        </a:p>
      </dgm:t>
    </dgm:pt>
    <dgm:pt modelId="{D27CDEFC-DE19-454C-876A-4938DC1D912E}" type="pres">
      <dgm:prSet presAssocID="{07B5878B-9280-4C84-B6A6-C14A2F3F9589}" presName="node" presStyleLbl="node1" presStyleIdx="0" presStyleCnt="3" custScaleX="139310" custScaleY="122218" custRadScaleRad="94965" custRadScaleInc="-20802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4DB0504A-55F5-4D55-92BE-670939A3B6E8}" type="pres">
      <dgm:prSet presAssocID="{07B5878B-9280-4C84-B6A6-C14A2F3F9589}" presName="dummy" presStyleCnt="0"/>
      <dgm:spPr/>
      <dgm:t>
        <a:bodyPr/>
        <a:lstStyle/>
        <a:p>
          <a:endParaRPr lang="es-ES"/>
        </a:p>
      </dgm:t>
    </dgm:pt>
    <dgm:pt modelId="{6BA8EBDC-5E0A-4AB8-92F0-4C56D569C0CC}" type="pres">
      <dgm:prSet presAssocID="{87A7B380-F6D3-4773-9A82-59B016E6F840}" presName="sibTrans" presStyleLbl="sibTrans2D1" presStyleIdx="0" presStyleCnt="3"/>
      <dgm:spPr/>
      <dgm:t>
        <a:bodyPr/>
        <a:lstStyle/>
        <a:p>
          <a:endParaRPr lang="es-ES"/>
        </a:p>
      </dgm:t>
    </dgm:pt>
    <dgm:pt modelId="{FF06D125-0041-4254-979E-69D1E9B269F7}" type="pres">
      <dgm:prSet presAssocID="{12F63483-6A9C-4419-9445-C828EA3EE19F}" presName="node" presStyleLbl="node1" presStyleIdx="1" presStyleCnt="3" custScaleX="135744" custScaleY="120214" custRadScaleRad="96325" custRadScaleInc="-82802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D6D92BFC-11D7-4F0E-9EFE-54390474A544}" type="pres">
      <dgm:prSet presAssocID="{12F63483-6A9C-4419-9445-C828EA3EE19F}" presName="dummy" presStyleCnt="0"/>
      <dgm:spPr/>
      <dgm:t>
        <a:bodyPr/>
        <a:lstStyle/>
        <a:p>
          <a:endParaRPr lang="es-ES"/>
        </a:p>
      </dgm:t>
    </dgm:pt>
    <dgm:pt modelId="{A078FAD9-8FFC-4A9F-AB6C-9DB9F997C465}" type="pres">
      <dgm:prSet presAssocID="{05A880CC-7124-4F1A-9586-B414544BA7AE}" presName="sibTrans" presStyleLbl="sibTrans2D1" presStyleIdx="1" presStyleCnt="3"/>
      <dgm:spPr/>
      <dgm:t>
        <a:bodyPr/>
        <a:lstStyle/>
        <a:p>
          <a:endParaRPr lang="es-ES"/>
        </a:p>
      </dgm:t>
    </dgm:pt>
    <dgm:pt modelId="{728E43BE-97A7-4C7F-9C67-FBB55299644B}" type="pres">
      <dgm:prSet presAssocID="{06CD12A1-EE36-4213-92F5-1536EBF5900B}" presName="node" presStyleLbl="node1" presStyleIdx="2" presStyleCnt="3" custScaleX="145112" custScaleY="132874" custRadScaleRad="102637" custRadScaleInc="69348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595C5600-11B3-4848-91D4-E2457AEB6321}" type="pres">
      <dgm:prSet presAssocID="{06CD12A1-EE36-4213-92F5-1536EBF5900B}" presName="dummy" presStyleCnt="0"/>
      <dgm:spPr/>
      <dgm:t>
        <a:bodyPr/>
        <a:lstStyle/>
        <a:p>
          <a:endParaRPr lang="es-ES"/>
        </a:p>
      </dgm:t>
    </dgm:pt>
    <dgm:pt modelId="{A3F6C0C5-06FF-402A-ADAB-C04B411DDD1E}" type="pres">
      <dgm:prSet presAssocID="{5F4CA3F0-9E18-48F2-9106-D4D3659EF044}" presName="sibTrans" presStyleLbl="sibTrans2D1" presStyleIdx="2" presStyleCnt="3" custLinFactNeighborX="-7171"/>
      <dgm:spPr/>
      <dgm:t>
        <a:bodyPr/>
        <a:lstStyle/>
        <a:p>
          <a:endParaRPr lang="es-ES"/>
        </a:p>
      </dgm:t>
    </dgm:pt>
  </dgm:ptLst>
  <dgm:cxnLst>
    <dgm:cxn modelId="{D87BE694-B6B3-420B-A01C-0C65E95B7D1D}" type="presOf" srcId="{05A880CC-7124-4F1A-9586-B414544BA7AE}" destId="{A078FAD9-8FFC-4A9F-AB6C-9DB9F997C465}" srcOrd="0" destOrd="0" presId="urn:microsoft.com/office/officeart/2005/8/layout/radial6#1"/>
    <dgm:cxn modelId="{4388AA79-A094-4FD5-843D-A89FDC3C9A4F}" srcId="{F16ADBDC-8F23-4086-9C4D-855168133218}" destId="{12F63483-6A9C-4419-9445-C828EA3EE19F}" srcOrd="1" destOrd="0" parTransId="{FCDE3361-9555-414D-817B-13A647956047}" sibTransId="{05A880CC-7124-4F1A-9586-B414544BA7AE}"/>
    <dgm:cxn modelId="{9DDE74B1-72E0-45F6-B6DA-D19230E26545}" srcId="{F16ADBDC-8F23-4086-9C4D-855168133218}" destId="{07B5878B-9280-4C84-B6A6-C14A2F3F9589}" srcOrd="0" destOrd="0" parTransId="{883F2F74-2995-41BE-B56E-80DBDC7BF836}" sibTransId="{87A7B380-F6D3-4773-9A82-59B016E6F840}"/>
    <dgm:cxn modelId="{A733658A-91E9-4AD7-9F90-07A1CD58816E}" type="presOf" srcId="{06CD12A1-EE36-4213-92F5-1536EBF5900B}" destId="{728E43BE-97A7-4C7F-9C67-FBB55299644B}" srcOrd="0" destOrd="0" presId="urn:microsoft.com/office/officeart/2005/8/layout/radial6#1"/>
    <dgm:cxn modelId="{4F239B7D-C567-48FE-9B78-6B15F1DB8B79}" type="presOf" srcId="{12F63483-6A9C-4419-9445-C828EA3EE19F}" destId="{FF06D125-0041-4254-979E-69D1E9B269F7}" srcOrd="0" destOrd="0" presId="urn:microsoft.com/office/officeart/2005/8/layout/radial6#1"/>
    <dgm:cxn modelId="{229813E9-5C60-4E07-BE8F-DF0950DF6CAB}" type="presOf" srcId="{5F4CA3F0-9E18-48F2-9106-D4D3659EF044}" destId="{A3F6C0C5-06FF-402A-ADAB-C04B411DDD1E}" srcOrd="0" destOrd="0" presId="urn:microsoft.com/office/officeart/2005/8/layout/radial6#1"/>
    <dgm:cxn modelId="{5FC6184D-2882-463B-ACFB-D6F6E7395D95}" type="presOf" srcId="{07B5878B-9280-4C84-B6A6-C14A2F3F9589}" destId="{D27CDEFC-DE19-454C-876A-4938DC1D912E}" srcOrd="0" destOrd="0" presId="urn:microsoft.com/office/officeart/2005/8/layout/radial6#1"/>
    <dgm:cxn modelId="{A8D32E09-6611-4EAA-A044-22ED00FE8B4C}" srcId="{84198B00-D50B-4937-9EE8-F0A120320370}" destId="{F16ADBDC-8F23-4086-9C4D-855168133218}" srcOrd="0" destOrd="0" parTransId="{99A8292D-5FEF-4401-84EF-311AA2F5BB3B}" sibTransId="{8B49DCBE-DB55-4F00-A197-205CE744F347}"/>
    <dgm:cxn modelId="{8FCCEFE0-5B8D-421C-8852-00A733087E4F}" type="presOf" srcId="{84198B00-D50B-4937-9EE8-F0A120320370}" destId="{40FDD080-B2E3-4F2A-A0A4-158660C172C5}" srcOrd="0" destOrd="0" presId="urn:microsoft.com/office/officeart/2005/8/layout/radial6#1"/>
    <dgm:cxn modelId="{6DC0FFD4-EF6E-4AEB-95C4-92CDCA826A0F}" type="presOf" srcId="{F16ADBDC-8F23-4086-9C4D-855168133218}" destId="{C84E14F8-A31F-4383-9AAA-1CBA5ED3B7A3}" srcOrd="0" destOrd="0" presId="urn:microsoft.com/office/officeart/2005/8/layout/radial6#1"/>
    <dgm:cxn modelId="{9C512654-DF1E-4F00-B945-4F8278B0F066}" srcId="{F16ADBDC-8F23-4086-9C4D-855168133218}" destId="{06CD12A1-EE36-4213-92F5-1536EBF5900B}" srcOrd="2" destOrd="0" parTransId="{D6B568B0-83C8-435E-A739-FC2D7E30AE1D}" sibTransId="{5F4CA3F0-9E18-48F2-9106-D4D3659EF044}"/>
    <dgm:cxn modelId="{27B5B0EB-14B1-4ED8-BDBD-C9FA8228CC7C}" type="presOf" srcId="{87A7B380-F6D3-4773-9A82-59B016E6F840}" destId="{6BA8EBDC-5E0A-4AB8-92F0-4C56D569C0CC}" srcOrd="0" destOrd="0" presId="urn:microsoft.com/office/officeart/2005/8/layout/radial6#1"/>
    <dgm:cxn modelId="{8A3FB688-B371-47A0-8FB0-C62948AB9E42}" type="presParOf" srcId="{40FDD080-B2E3-4F2A-A0A4-158660C172C5}" destId="{C84E14F8-A31F-4383-9AAA-1CBA5ED3B7A3}" srcOrd="0" destOrd="0" presId="urn:microsoft.com/office/officeart/2005/8/layout/radial6#1"/>
    <dgm:cxn modelId="{D4AB918D-5278-4FF4-8857-E867E34D7597}" type="presParOf" srcId="{40FDD080-B2E3-4F2A-A0A4-158660C172C5}" destId="{D27CDEFC-DE19-454C-876A-4938DC1D912E}" srcOrd="1" destOrd="0" presId="urn:microsoft.com/office/officeart/2005/8/layout/radial6#1"/>
    <dgm:cxn modelId="{89BA42DA-0A48-416B-9350-5A313AA2090E}" type="presParOf" srcId="{40FDD080-B2E3-4F2A-A0A4-158660C172C5}" destId="{4DB0504A-55F5-4D55-92BE-670939A3B6E8}" srcOrd="2" destOrd="0" presId="urn:microsoft.com/office/officeart/2005/8/layout/radial6#1"/>
    <dgm:cxn modelId="{3C2C5EC1-14B6-4F39-AF48-3DCA20C2EE26}" type="presParOf" srcId="{40FDD080-B2E3-4F2A-A0A4-158660C172C5}" destId="{6BA8EBDC-5E0A-4AB8-92F0-4C56D569C0CC}" srcOrd="3" destOrd="0" presId="urn:microsoft.com/office/officeart/2005/8/layout/radial6#1"/>
    <dgm:cxn modelId="{72FDB5DD-62BA-4670-B75A-424A2AB0EAAA}" type="presParOf" srcId="{40FDD080-B2E3-4F2A-A0A4-158660C172C5}" destId="{FF06D125-0041-4254-979E-69D1E9B269F7}" srcOrd="4" destOrd="0" presId="urn:microsoft.com/office/officeart/2005/8/layout/radial6#1"/>
    <dgm:cxn modelId="{C8DD57D6-3360-4306-94B5-9E37FE8AFEAD}" type="presParOf" srcId="{40FDD080-B2E3-4F2A-A0A4-158660C172C5}" destId="{D6D92BFC-11D7-4F0E-9EFE-54390474A544}" srcOrd="5" destOrd="0" presId="urn:microsoft.com/office/officeart/2005/8/layout/radial6#1"/>
    <dgm:cxn modelId="{48FA29A4-7CD2-4EE9-80FD-4221D5DD0979}" type="presParOf" srcId="{40FDD080-B2E3-4F2A-A0A4-158660C172C5}" destId="{A078FAD9-8FFC-4A9F-AB6C-9DB9F997C465}" srcOrd="6" destOrd="0" presId="urn:microsoft.com/office/officeart/2005/8/layout/radial6#1"/>
    <dgm:cxn modelId="{9E45D404-D407-466C-913C-DF2BF5994823}" type="presParOf" srcId="{40FDD080-B2E3-4F2A-A0A4-158660C172C5}" destId="{728E43BE-97A7-4C7F-9C67-FBB55299644B}" srcOrd="7" destOrd="0" presId="urn:microsoft.com/office/officeart/2005/8/layout/radial6#1"/>
    <dgm:cxn modelId="{8C89902C-40D3-4CF1-A3EF-54FDA313A1C3}" type="presParOf" srcId="{40FDD080-B2E3-4F2A-A0A4-158660C172C5}" destId="{595C5600-11B3-4848-91D4-E2457AEB6321}" srcOrd="8" destOrd="0" presId="urn:microsoft.com/office/officeart/2005/8/layout/radial6#1"/>
    <dgm:cxn modelId="{BC1E70D6-CF73-42C7-8DEC-720A3F1DC542}" type="presParOf" srcId="{40FDD080-B2E3-4F2A-A0A4-158660C172C5}" destId="{A3F6C0C5-06FF-402A-ADAB-C04B411DDD1E}" srcOrd="9" destOrd="0" presId="urn:microsoft.com/office/officeart/2005/8/layout/radial6#1"/>
  </dgm:cxnLst>
  <dgm:bg>
    <a:noFill/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D7302796-2760-495E-A9EE-7936BB5D9CD6}" type="doc">
      <dgm:prSet loTypeId="urn:microsoft.com/office/officeart/2005/8/layout/hierarchy2#1" loCatId="hierarchy" qsTypeId="urn:microsoft.com/office/officeart/2005/8/quickstyle/3d2#1" qsCatId="3D" csTypeId="urn:microsoft.com/office/officeart/2005/8/colors/colorful5#1" csCatId="colorful" phldr="1"/>
      <dgm:spPr/>
      <dgm:t>
        <a:bodyPr/>
        <a:lstStyle/>
        <a:p>
          <a:endParaRPr lang="es-ES"/>
        </a:p>
      </dgm:t>
    </dgm:pt>
    <dgm:pt modelId="{7BAD9155-072B-499A-8F33-20D78F8183CD}">
      <dgm:prSet phldrT="[Texto]" phldr="0" custT="0"/>
      <dgm:spPr/>
      <dgm:t>
        <a:bodyPr vert="horz" wrap="square"/>
        <a:lstStyle/>
        <a:p>
          <a:pPr algn="just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s-ES" b="1" dirty="0" err="1" smtClean="0">
              <a:solidFill>
                <a:srgbClr val="FF0000"/>
              </a:solidFill>
            </a:rPr>
            <a:t>a</a:t>
          </a:r>
          <a:r>
            <a:rPr lang="es-PE" altLang="es-ES" b="1" dirty="0" err="1" smtClean="0">
              <a:solidFill>
                <a:srgbClr val="FF0000"/>
              </a:solidFill>
            </a:rPr>
            <a:t>) </a:t>
          </a:r>
          <a:r>
            <a:rPr lang="es-ES" b="1" dirty="0" err="1" smtClean="0">
              <a:solidFill>
                <a:srgbClr val="FF0000"/>
              </a:solidFill>
            </a:rPr>
            <a:t>¿Qué</a:t>
          </a:r>
          <a:r>
            <a:rPr lang="es-ES" b="1" dirty="0" smtClean="0">
              <a:solidFill>
                <a:srgbClr val="FF0000"/>
              </a:solidFill>
            </a:rPr>
            <a:t> se espera que logre el estudiante?</a:t>
          </a:r>
          <a:endParaRPr lang="es-ES" b="1" dirty="0">
            <a:solidFill>
              <a:srgbClr val="FF0000"/>
            </a:solidFill>
          </a:endParaRPr>
        </a:p>
      </dgm:t>
    </dgm:pt>
    <dgm:pt modelId="{7B799970-2D42-4B5D-89F9-376E9EB6D29B}" type="parTrans" cxnId="{F1D38FB0-3B48-4744-9FD5-2B759ABCBBC3}">
      <dgm:prSet/>
      <dgm:spPr/>
      <dgm:t>
        <a:bodyPr/>
        <a:lstStyle/>
        <a:p>
          <a:endParaRPr lang="es-ES"/>
        </a:p>
      </dgm:t>
    </dgm:pt>
    <dgm:pt modelId="{61B36FAA-E5F6-412F-869F-519877CDF427}" type="sibTrans" cxnId="{F1D38FB0-3B48-4744-9FD5-2B759ABCBBC3}">
      <dgm:prSet/>
      <dgm:spPr/>
      <dgm:t>
        <a:bodyPr/>
        <a:lstStyle/>
        <a:p>
          <a:endParaRPr lang="es-ES"/>
        </a:p>
      </dgm:t>
    </dgm:pt>
    <dgm:pt modelId="{1BC59048-5FFE-484D-85C7-9EA78206A3B4}">
      <dgm:prSet phldrT="[Texto]" phldr="0" custT="0"/>
      <dgm:spPr/>
      <dgm:t>
        <a:bodyPr vert="horz" wrap="square"/>
        <a:lstStyle/>
        <a:p>
          <a:pPr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s-ES" b="1" dirty="0" smtClean="0">
              <a:solidFill>
                <a:schemeClr val="tx1"/>
              </a:solidFill>
            </a:rPr>
            <a:t>Propósito de aprendizaje </a:t>
          </a:r>
        </a:p>
      </dgm:t>
    </dgm:pt>
    <dgm:pt modelId="{93F768F5-83A4-4BED-A845-09F131084EF1}" type="parTrans" cxnId="{B722681B-6CAA-4CBE-82E0-536FBFBA5758}">
      <dgm:prSet/>
      <dgm:spPr/>
      <dgm:t>
        <a:bodyPr/>
        <a:lstStyle/>
        <a:p>
          <a:endParaRPr lang="es-ES"/>
        </a:p>
      </dgm:t>
    </dgm:pt>
    <dgm:pt modelId="{B7CBE109-FE24-4006-9BE5-D197D21E5952}" type="sibTrans" cxnId="{B722681B-6CAA-4CBE-82E0-536FBFBA5758}">
      <dgm:prSet/>
      <dgm:spPr/>
      <dgm:t>
        <a:bodyPr/>
        <a:lstStyle/>
        <a:p>
          <a:endParaRPr lang="es-ES"/>
        </a:p>
      </dgm:t>
    </dgm:pt>
    <dgm:pt modelId="{F46F1A9F-F26E-44DD-8654-F88988849883}">
      <dgm:prSet/>
      <dgm:spPr/>
      <dgm:t>
        <a:bodyPr/>
        <a:lstStyle/>
        <a:p>
          <a:r>
            <a:rPr lang="es-ES" b="1" dirty="0" smtClean="0">
              <a:solidFill>
                <a:srgbClr val="7030A0"/>
              </a:solidFill>
            </a:rPr>
            <a:t>Características del estudiante</a:t>
          </a:r>
          <a:endParaRPr lang="es-ES" b="1" dirty="0">
            <a:solidFill>
              <a:srgbClr val="7030A0"/>
            </a:solidFill>
          </a:endParaRPr>
        </a:p>
      </dgm:t>
    </dgm:pt>
    <dgm:pt modelId="{31156EED-B545-41B7-9EB0-CA9FEAA86AF9}" type="parTrans" cxnId="{2FE1B117-50B9-46A2-A203-7EDD714335DE}">
      <dgm:prSet/>
      <dgm:spPr/>
      <dgm:t>
        <a:bodyPr/>
        <a:lstStyle/>
        <a:p>
          <a:endParaRPr lang="es-ES"/>
        </a:p>
      </dgm:t>
    </dgm:pt>
    <dgm:pt modelId="{B529E67F-008E-46B2-8B2E-D6CE7C18D76F}" type="sibTrans" cxnId="{2FE1B117-50B9-46A2-A203-7EDD714335DE}">
      <dgm:prSet/>
      <dgm:spPr/>
      <dgm:t>
        <a:bodyPr/>
        <a:lstStyle/>
        <a:p>
          <a:endParaRPr lang="es-ES"/>
        </a:p>
      </dgm:t>
    </dgm:pt>
    <dgm:pt modelId="{B97DADAF-2A8F-46A6-B216-F95242EE2155}">
      <dgm:prSet/>
      <dgm:spPr/>
      <dgm:t>
        <a:bodyPr/>
        <a:lstStyle/>
        <a:p>
          <a:r>
            <a:rPr lang="es-ES" b="1" dirty="0" smtClean="0">
              <a:solidFill>
                <a:srgbClr val="7030A0"/>
              </a:solidFill>
            </a:rPr>
            <a:t>Comprensión del desarrollo de la competencia </a:t>
          </a:r>
          <a:endParaRPr lang="es-ES" b="1" dirty="0">
            <a:solidFill>
              <a:srgbClr val="7030A0"/>
            </a:solidFill>
          </a:endParaRPr>
        </a:p>
      </dgm:t>
    </dgm:pt>
    <dgm:pt modelId="{9067CEBA-BAE5-4E66-8A8F-F216C198F75F}" type="parTrans" cxnId="{67FAD3A7-8754-4DB0-ABCC-4BAF1305C140}">
      <dgm:prSet/>
      <dgm:spPr/>
      <dgm:t>
        <a:bodyPr/>
        <a:lstStyle/>
        <a:p>
          <a:endParaRPr lang="es-ES"/>
        </a:p>
      </dgm:t>
    </dgm:pt>
    <dgm:pt modelId="{5CECF395-D73C-4509-9830-272CDE231BE4}" type="sibTrans" cxnId="{67FAD3A7-8754-4DB0-ABCC-4BAF1305C140}">
      <dgm:prSet/>
      <dgm:spPr/>
      <dgm:t>
        <a:bodyPr/>
        <a:lstStyle/>
        <a:p>
          <a:endParaRPr lang="es-ES"/>
        </a:p>
      </dgm:t>
    </dgm:pt>
    <dgm:pt modelId="{B92D416B-9562-4B0F-84C5-429217FEC959}">
      <dgm:prSet/>
      <dgm:spPr/>
      <dgm:t>
        <a:bodyPr/>
        <a:lstStyle/>
        <a:p>
          <a:r>
            <a:rPr lang="es-ES" b="1" dirty="0" smtClean="0">
              <a:solidFill>
                <a:srgbClr val="7030A0"/>
              </a:solidFill>
            </a:rPr>
            <a:t>Situación a afrontar</a:t>
          </a:r>
          <a:endParaRPr lang="es-ES" b="1" dirty="0">
            <a:solidFill>
              <a:srgbClr val="7030A0"/>
            </a:solidFill>
          </a:endParaRPr>
        </a:p>
      </dgm:t>
    </dgm:pt>
    <dgm:pt modelId="{2F9EE019-2AB6-45AE-AB21-0FC0FC223E7C}" type="parTrans" cxnId="{9B8A59D5-3C89-4693-9B48-E0D7F375EB1E}">
      <dgm:prSet/>
      <dgm:spPr/>
      <dgm:t>
        <a:bodyPr/>
        <a:lstStyle/>
        <a:p>
          <a:endParaRPr lang="es-ES"/>
        </a:p>
      </dgm:t>
    </dgm:pt>
    <dgm:pt modelId="{A75AC308-A3B8-474F-BD09-7C6FF3DBBC1E}" type="sibTrans" cxnId="{9B8A59D5-3C89-4693-9B48-E0D7F375EB1E}">
      <dgm:prSet/>
      <dgm:spPr/>
      <dgm:t>
        <a:bodyPr/>
        <a:lstStyle/>
        <a:p>
          <a:endParaRPr lang="es-ES"/>
        </a:p>
      </dgm:t>
    </dgm:pt>
    <dgm:pt modelId="{6149EE06-96CF-42C0-881F-AADB7C80318B}" type="pres">
      <dgm:prSet presAssocID="{D7302796-2760-495E-A9EE-7936BB5D9CD6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02FE073B-4927-4A16-8CBD-31ADCD61F69D}" type="pres">
      <dgm:prSet presAssocID="{7BAD9155-072B-499A-8F33-20D78F8183CD}" presName="root1" presStyleCnt="0"/>
      <dgm:spPr/>
    </dgm:pt>
    <dgm:pt modelId="{5CD15DF0-E56B-4180-9655-F2717CD4F52B}" type="pres">
      <dgm:prSet presAssocID="{7BAD9155-072B-499A-8F33-20D78F8183CD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es-ES"/>
        </a:p>
      </dgm:t>
    </dgm:pt>
    <dgm:pt modelId="{0A0D7E09-5D2E-4E42-AFAF-A154CD5346D8}" type="pres">
      <dgm:prSet presAssocID="{7BAD9155-072B-499A-8F33-20D78F8183CD}" presName="level2hierChild" presStyleCnt="0"/>
      <dgm:spPr/>
    </dgm:pt>
    <dgm:pt modelId="{AEF30701-9C48-4C88-8213-C9D249AEDC8F}" type="pres">
      <dgm:prSet presAssocID="{93F768F5-83A4-4BED-A845-09F131084EF1}" presName="conn2-1" presStyleLbl="parChTrans1D2" presStyleIdx="0" presStyleCnt="1"/>
      <dgm:spPr/>
      <dgm:t>
        <a:bodyPr/>
        <a:lstStyle/>
        <a:p>
          <a:endParaRPr lang="es-ES"/>
        </a:p>
      </dgm:t>
    </dgm:pt>
    <dgm:pt modelId="{F2A05A59-E4B0-4C14-A2D2-81E50786E4EC}" type="pres">
      <dgm:prSet presAssocID="{93F768F5-83A4-4BED-A845-09F131084EF1}" presName="connTx" presStyleLbl="parChTrans1D2" presStyleIdx="0" presStyleCnt="1"/>
      <dgm:spPr/>
      <dgm:t>
        <a:bodyPr/>
        <a:lstStyle/>
        <a:p>
          <a:endParaRPr lang="es-ES"/>
        </a:p>
      </dgm:t>
    </dgm:pt>
    <dgm:pt modelId="{7DA9F07C-6AF5-47C4-A57A-5C93696EA153}" type="pres">
      <dgm:prSet presAssocID="{1BC59048-5FFE-484D-85C7-9EA78206A3B4}" presName="root2" presStyleCnt="0"/>
      <dgm:spPr/>
    </dgm:pt>
    <dgm:pt modelId="{205A09EB-F4D8-4EEA-9590-F6B00ED337CC}" type="pres">
      <dgm:prSet presAssocID="{1BC59048-5FFE-484D-85C7-9EA78206A3B4}" presName="LevelTwoTextNode" presStyleLbl="node2" presStyleIdx="0" presStyleCnt="1">
        <dgm:presLayoutVars>
          <dgm:chPref val="3"/>
        </dgm:presLayoutVars>
      </dgm:prSet>
      <dgm:spPr/>
      <dgm:t>
        <a:bodyPr/>
        <a:lstStyle/>
        <a:p>
          <a:endParaRPr lang="es-ES"/>
        </a:p>
      </dgm:t>
    </dgm:pt>
    <dgm:pt modelId="{77A691D0-9AAE-4EDB-AF34-F6E44A0B089C}" type="pres">
      <dgm:prSet presAssocID="{1BC59048-5FFE-484D-85C7-9EA78206A3B4}" presName="level3hierChild" presStyleCnt="0"/>
      <dgm:spPr/>
    </dgm:pt>
    <dgm:pt modelId="{E1E39C3A-35FB-4C79-BC7F-3CB36ED65C88}" type="pres">
      <dgm:prSet presAssocID="{31156EED-B545-41B7-9EB0-CA9FEAA86AF9}" presName="conn2-1" presStyleLbl="parChTrans1D3" presStyleIdx="0" presStyleCnt="3"/>
      <dgm:spPr/>
      <dgm:t>
        <a:bodyPr/>
        <a:lstStyle/>
        <a:p>
          <a:endParaRPr lang="es-ES"/>
        </a:p>
      </dgm:t>
    </dgm:pt>
    <dgm:pt modelId="{F2538262-CCA0-48BC-B752-48CD235FA409}" type="pres">
      <dgm:prSet presAssocID="{31156EED-B545-41B7-9EB0-CA9FEAA86AF9}" presName="connTx" presStyleLbl="parChTrans1D3" presStyleIdx="0" presStyleCnt="3"/>
      <dgm:spPr/>
      <dgm:t>
        <a:bodyPr/>
        <a:lstStyle/>
        <a:p>
          <a:endParaRPr lang="es-ES"/>
        </a:p>
      </dgm:t>
    </dgm:pt>
    <dgm:pt modelId="{0F2E9038-63CA-4A5B-AE3F-DDB4B0E4234C}" type="pres">
      <dgm:prSet presAssocID="{F46F1A9F-F26E-44DD-8654-F88988849883}" presName="root2" presStyleCnt="0"/>
      <dgm:spPr/>
    </dgm:pt>
    <dgm:pt modelId="{8C77A817-EB15-422F-A1AC-05BC1E62FF8C}" type="pres">
      <dgm:prSet presAssocID="{F46F1A9F-F26E-44DD-8654-F88988849883}" presName="LevelTwoTextNode" presStyleLbl="node3" presStyleIdx="0" presStyleCnt="3">
        <dgm:presLayoutVars>
          <dgm:chPref val="3"/>
        </dgm:presLayoutVars>
      </dgm:prSet>
      <dgm:spPr/>
      <dgm:t>
        <a:bodyPr/>
        <a:lstStyle/>
        <a:p>
          <a:endParaRPr lang="es-ES"/>
        </a:p>
      </dgm:t>
    </dgm:pt>
    <dgm:pt modelId="{00065F6B-A9CA-4C21-BA90-6A79B9471630}" type="pres">
      <dgm:prSet presAssocID="{F46F1A9F-F26E-44DD-8654-F88988849883}" presName="level3hierChild" presStyleCnt="0"/>
      <dgm:spPr/>
    </dgm:pt>
    <dgm:pt modelId="{DD2DE460-E221-457A-A256-B5386A1137B9}" type="pres">
      <dgm:prSet presAssocID="{9067CEBA-BAE5-4E66-8A8F-F216C198F75F}" presName="conn2-1" presStyleLbl="parChTrans1D3" presStyleIdx="1" presStyleCnt="3"/>
      <dgm:spPr/>
      <dgm:t>
        <a:bodyPr/>
        <a:lstStyle/>
        <a:p>
          <a:endParaRPr lang="es-ES"/>
        </a:p>
      </dgm:t>
    </dgm:pt>
    <dgm:pt modelId="{9F237321-D450-4ECF-963C-1B1CF24C9350}" type="pres">
      <dgm:prSet presAssocID="{9067CEBA-BAE5-4E66-8A8F-F216C198F75F}" presName="connTx" presStyleLbl="parChTrans1D3" presStyleIdx="1" presStyleCnt="3"/>
      <dgm:spPr/>
      <dgm:t>
        <a:bodyPr/>
        <a:lstStyle/>
        <a:p>
          <a:endParaRPr lang="es-ES"/>
        </a:p>
      </dgm:t>
    </dgm:pt>
    <dgm:pt modelId="{33EABA24-AD0B-45A3-98DD-C29B25D6032B}" type="pres">
      <dgm:prSet presAssocID="{B97DADAF-2A8F-46A6-B216-F95242EE2155}" presName="root2" presStyleCnt="0"/>
      <dgm:spPr/>
    </dgm:pt>
    <dgm:pt modelId="{80194284-941F-4EF0-BA0C-D574788390F8}" type="pres">
      <dgm:prSet presAssocID="{B97DADAF-2A8F-46A6-B216-F95242EE2155}" presName="LevelTwoTextNode" presStyleLbl="node3" presStyleIdx="1" presStyleCnt="3">
        <dgm:presLayoutVars>
          <dgm:chPref val="3"/>
        </dgm:presLayoutVars>
      </dgm:prSet>
      <dgm:spPr/>
      <dgm:t>
        <a:bodyPr/>
        <a:lstStyle/>
        <a:p>
          <a:endParaRPr lang="es-ES"/>
        </a:p>
      </dgm:t>
    </dgm:pt>
    <dgm:pt modelId="{526D40CD-C0A6-4486-8CA7-B65C28A76421}" type="pres">
      <dgm:prSet presAssocID="{B97DADAF-2A8F-46A6-B216-F95242EE2155}" presName="level3hierChild" presStyleCnt="0"/>
      <dgm:spPr/>
    </dgm:pt>
    <dgm:pt modelId="{12F49B66-5077-4F3A-91DE-EBA61FE5E267}" type="pres">
      <dgm:prSet presAssocID="{2F9EE019-2AB6-45AE-AB21-0FC0FC223E7C}" presName="conn2-1" presStyleLbl="parChTrans1D3" presStyleIdx="2" presStyleCnt="3"/>
      <dgm:spPr/>
      <dgm:t>
        <a:bodyPr/>
        <a:lstStyle/>
        <a:p>
          <a:endParaRPr lang="es-ES"/>
        </a:p>
      </dgm:t>
    </dgm:pt>
    <dgm:pt modelId="{A2C3745E-D11C-4CF1-AE3C-82DC6AAE80EE}" type="pres">
      <dgm:prSet presAssocID="{2F9EE019-2AB6-45AE-AB21-0FC0FC223E7C}" presName="connTx" presStyleLbl="parChTrans1D3" presStyleIdx="2" presStyleCnt="3"/>
      <dgm:spPr/>
      <dgm:t>
        <a:bodyPr/>
        <a:lstStyle/>
        <a:p>
          <a:endParaRPr lang="es-ES"/>
        </a:p>
      </dgm:t>
    </dgm:pt>
    <dgm:pt modelId="{8A0A9900-ADAD-43C0-A4EC-7D025E70EA30}" type="pres">
      <dgm:prSet presAssocID="{B92D416B-9562-4B0F-84C5-429217FEC959}" presName="root2" presStyleCnt="0"/>
      <dgm:spPr/>
    </dgm:pt>
    <dgm:pt modelId="{6F138B29-21F1-4E80-A3E1-2769851F498F}" type="pres">
      <dgm:prSet presAssocID="{B92D416B-9562-4B0F-84C5-429217FEC959}" presName="LevelTwoTextNode" presStyleLbl="node3" presStyleIdx="2" presStyleCnt="3">
        <dgm:presLayoutVars>
          <dgm:chPref val="3"/>
        </dgm:presLayoutVars>
      </dgm:prSet>
      <dgm:spPr/>
      <dgm:t>
        <a:bodyPr/>
        <a:lstStyle/>
        <a:p>
          <a:endParaRPr lang="es-ES"/>
        </a:p>
      </dgm:t>
    </dgm:pt>
    <dgm:pt modelId="{3067942F-70AD-4A06-BE5C-497448193F57}" type="pres">
      <dgm:prSet presAssocID="{B92D416B-9562-4B0F-84C5-429217FEC959}" presName="level3hierChild" presStyleCnt="0"/>
      <dgm:spPr/>
    </dgm:pt>
  </dgm:ptLst>
  <dgm:cxnLst>
    <dgm:cxn modelId="{67FAD3A7-8754-4DB0-ABCC-4BAF1305C140}" srcId="{1BC59048-5FFE-484D-85C7-9EA78206A3B4}" destId="{B97DADAF-2A8F-46A6-B216-F95242EE2155}" srcOrd="1" destOrd="0" parTransId="{9067CEBA-BAE5-4E66-8A8F-F216C198F75F}" sibTransId="{5CECF395-D73C-4509-9830-272CDE231BE4}"/>
    <dgm:cxn modelId="{3AEE4B85-EF8F-46BD-BD1F-F3D0D02F5C83}" type="presOf" srcId="{2F9EE019-2AB6-45AE-AB21-0FC0FC223E7C}" destId="{12F49B66-5077-4F3A-91DE-EBA61FE5E267}" srcOrd="0" destOrd="0" presId="urn:microsoft.com/office/officeart/2005/8/layout/hierarchy2#1"/>
    <dgm:cxn modelId="{F1D38FB0-3B48-4744-9FD5-2B759ABCBBC3}" srcId="{D7302796-2760-495E-A9EE-7936BB5D9CD6}" destId="{7BAD9155-072B-499A-8F33-20D78F8183CD}" srcOrd="0" destOrd="0" parTransId="{7B799970-2D42-4B5D-89F9-376E9EB6D29B}" sibTransId="{61B36FAA-E5F6-412F-869F-519877CDF427}"/>
    <dgm:cxn modelId="{F4D65DA8-BA58-4951-96EC-22BF1FF3C5B7}" type="presOf" srcId="{7BAD9155-072B-499A-8F33-20D78F8183CD}" destId="{5CD15DF0-E56B-4180-9655-F2717CD4F52B}" srcOrd="0" destOrd="0" presId="urn:microsoft.com/office/officeart/2005/8/layout/hierarchy2#1"/>
    <dgm:cxn modelId="{EDBF55E6-1A4B-41F5-88EE-C2F0726B32E1}" type="presOf" srcId="{B97DADAF-2A8F-46A6-B216-F95242EE2155}" destId="{80194284-941F-4EF0-BA0C-D574788390F8}" srcOrd="0" destOrd="0" presId="urn:microsoft.com/office/officeart/2005/8/layout/hierarchy2#1"/>
    <dgm:cxn modelId="{570EC963-376E-46CD-AAFB-32892DBC299A}" type="presOf" srcId="{D7302796-2760-495E-A9EE-7936BB5D9CD6}" destId="{6149EE06-96CF-42C0-881F-AADB7C80318B}" srcOrd="0" destOrd="0" presId="urn:microsoft.com/office/officeart/2005/8/layout/hierarchy2#1"/>
    <dgm:cxn modelId="{9B8A59D5-3C89-4693-9B48-E0D7F375EB1E}" srcId="{1BC59048-5FFE-484D-85C7-9EA78206A3B4}" destId="{B92D416B-9562-4B0F-84C5-429217FEC959}" srcOrd="2" destOrd="0" parTransId="{2F9EE019-2AB6-45AE-AB21-0FC0FC223E7C}" sibTransId="{A75AC308-A3B8-474F-BD09-7C6FF3DBBC1E}"/>
    <dgm:cxn modelId="{B722681B-6CAA-4CBE-82E0-536FBFBA5758}" srcId="{7BAD9155-072B-499A-8F33-20D78F8183CD}" destId="{1BC59048-5FFE-484D-85C7-9EA78206A3B4}" srcOrd="0" destOrd="0" parTransId="{93F768F5-83A4-4BED-A845-09F131084EF1}" sibTransId="{B7CBE109-FE24-4006-9BE5-D197D21E5952}"/>
    <dgm:cxn modelId="{44CFFF08-1588-4618-9380-045FC086A40A}" type="presOf" srcId="{1BC59048-5FFE-484D-85C7-9EA78206A3B4}" destId="{205A09EB-F4D8-4EEA-9590-F6B00ED337CC}" srcOrd="0" destOrd="0" presId="urn:microsoft.com/office/officeart/2005/8/layout/hierarchy2#1"/>
    <dgm:cxn modelId="{0D4CA93A-6028-4D76-82EC-3076E84C4B2A}" type="presOf" srcId="{31156EED-B545-41B7-9EB0-CA9FEAA86AF9}" destId="{E1E39C3A-35FB-4C79-BC7F-3CB36ED65C88}" srcOrd="0" destOrd="0" presId="urn:microsoft.com/office/officeart/2005/8/layout/hierarchy2#1"/>
    <dgm:cxn modelId="{3333E02B-A56D-4001-9C78-4ECE2A21045E}" type="presOf" srcId="{9067CEBA-BAE5-4E66-8A8F-F216C198F75F}" destId="{DD2DE460-E221-457A-A256-B5386A1137B9}" srcOrd="0" destOrd="0" presId="urn:microsoft.com/office/officeart/2005/8/layout/hierarchy2#1"/>
    <dgm:cxn modelId="{2F4362A8-B4F2-4251-8C84-0040E8EFBEF1}" type="presOf" srcId="{31156EED-B545-41B7-9EB0-CA9FEAA86AF9}" destId="{F2538262-CCA0-48BC-B752-48CD235FA409}" srcOrd="1" destOrd="0" presId="urn:microsoft.com/office/officeart/2005/8/layout/hierarchy2#1"/>
    <dgm:cxn modelId="{738FE79B-57E4-4BAC-BE3C-DE00277EEE6D}" type="presOf" srcId="{F46F1A9F-F26E-44DD-8654-F88988849883}" destId="{8C77A817-EB15-422F-A1AC-05BC1E62FF8C}" srcOrd="0" destOrd="0" presId="urn:microsoft.com/office/officeart/2005/8/layout/hierarchy2#1"/>
    <dgm:cxn modelId="{8F052D17-5C82-49BA-8E7A-C6C1DBEED711}" type="presOf" srcId="{9067CEBA-BAE5-4E66-8A8F-F216C198F75F}" destId="{9F237321-D450-4ECF-963C-1B1CF24C9350}" srcOrd="1" destOrd="0" presId="urn:microsoft.com/office/officeart/2005/8/layout/hierarchy2#1"/>
    <dgm:cxn modelId="{2FE1B117-50B9-46A2-A203-7EDD714335DE}" srcId="{1BC59048-5FFE-484D-85C7-9EA78206A3B4}" destId="{F46F1A9F-F26E-44DD-8654-F88988849883}" srcOrd="0" destOrd="0" parTransId="{31156EED-B545-41B7-9EB0-CA9FEAA86AF9}" sibTransId="{B529E67F-008E-46B2-8B2E-D6CE7C18D76F}"/>
    <dgm:cxn modelId="{E187AFD5-2B53-4E98-8B38-47C762997F05}" type="presOf" srcId="{2F9EE019-2AB6-45AE-AB21-0FC0FC223E7C}" destId="{A2C3745E-D11C-4CF1-AE3C-82DC6AAE80EE}" srcOrd="1" destOrd="0" presId="urn:microsoft.com/office/officeart/2005/8/layout/hierarchy2#1"/>
    <dgm:cxn modelId="{072B8A25-C55E-4927-8C0C-41C4BD4A42F5}" type="presOf" srcId="{93F768F5-83A4-4BED-A845-09F131084EF1}" destId="{AEF30701-9C48-4C88-8213-C9D249AEDC8F}" srcOrd="0" destOrd="0" presId="urn:microsoft.com/office/officeart/2005/8/layout/hierarchy2#1"/>
    <dgm:cxn modelId="{56C648A6-7848-408D-B624-7EBCDF5C096D}" type="presOf" srcId="{93F768F5-83A4-4BED-A845-09F131084EF1}" destId="{F2A05A59-E4B0-4C14-A2D2-81E50786E4EC}" srcOrd="1" destOrd="0" presId="urn:microsoft.com/office/officeart/2005/8/layout/hierarchy2#1"/>
    <dgm:cxn modelId="{5CEE1DD8-AA41-48A3-8F19-DCF7CC2E8CDE}" type="presOf" srcId="{B92D416B-9562-4B0F-84C5-429217FEC959}" destId="{6F138B29-21F1-4E80-A3E1-2769851F498F}" srcOrd="0" destOrd="0" presId="urn:microsoft.com/office/officeart/2005/8/layout/hierarchy2#1"/>
    <dgm:cxn modelId="{69589F92-9B00-42CB-A3A8-4B522A75F2B9}" type="presParOf" srcId="{6149EE06-96CF-42C0-881F-AADB7C80318B}" destId="{02FE073B-4927-4A16-8CBD-31ADCD61F69D}" srcOrd="0" destOrd="0" presId="urn:microsoft.com/office/officeart/2005/8/layout/hierarchy2#1"/>
    <dgm:cxn modelId="{FEF4C1F4-FC6F-4D95-A6D3-B18D35A55451}" type="presParOf" srcId="{02FE073B-4927-4A16-8CBD-31ADCD61F69D}" destId="{5CD15DF0-E56B-4180-9655-F2717CD4F52B}" srcOrd="0" destOrd="0" presId="urn:microsoft.com/office/officeart/2005/8/layout/hierarchy2#1"/>
    <dgm:cxn modelId="{97064050-5483-4F84-971F-5CBDBACA773B}" type="presParOf" srcId="{02FE073B-4927-4A16-8CBD-31ADCD61F69D}" destId="{0A0D7E09-5D2E-4E42-AFAF-A154CD5346D8}" srcOrd="1" destOrd="0" presId="urn:microsoft.com/office/officeart/2005/8/layout/hierarchy2#1"/>
    <dgm:cxn modelId="{E7B8451F-F5F6-4CFC-923A-4D4D22918EFA}" type="presParOf" srcId="{0A0D7E09-5D2E-4E42-AFAF-A154CD5346D8}" destId="{AEF30701-9C48-4C88-8213-C9D249AEDC8F}" srcOrd="0" destOrd="0" presId="urn:microsoft.com/office/officeart/2005/8/layout/hierarchy2#1"/>
    <dgm:cxn modelId="{321F99E4-E717-41C5-96D2-2488C8058179}" type="presParOf" srcId="{AEF30701-9C48-4C88-8213-C9D249AEDC8F}" destId="{F2A05A59-E4B0-4C14-A2D2-81E50786E4EC}" srcOrd="0" destOrd="0" presId="urn:microsoft.com/office/officeart/2005/8/layout/hierarchy2#1"/>
    <dgm:cxn modelId="{ECC8B585-9DAA-430D-B08B-40EE253008C0}" type="presParOf" srcId="{0A0D7E09-5D2E-4E42-AFAF-A154CD5346D8}" destId="{7DA9F07C-6AF5-47C4-A57A-5C93696EA153}" srcOrd="1" destOrd="0" presId="urn:microsoft.com/office/officeart/2005/8/layout/hierarchy2#1"/>
    <dgm:cxn modelId="{5E8A7C2B-9B57-487D-A820-C0169B305143}" type="presParOf" srcId="{7DA9F07C-6AF5-47C4-A57A-5C93696EA153}" destId="{205A09EB-F4D8-4EEA-9590-F6B00ED337CC}" srcOrd="0" destOrd="0" presId="urn:microsoft.com/office/officeart/2005/8/layout/hierarchy2#1"/>
    <dgm:cxn modelId="{E8503B23-8F3B-4A34-903E-094199465B73}" type="presParOf" srcId="{7DA9F07C-6AF5-47C4-A57A-5C93696EA153}" destId="{77A691D0-9AAE-4EDB-AF34-F6E44A0B089C}" srcOrd="1" destOrd="0" presId="urn:microsoft.com/office/officeart/2005/8/layout/hierarchy2#1"/>
    <dgm:cxn modelId="{64B51AE3-F3E9-4EBA-8076-F3095D765DBD}" type="presParOf" srcId="{77A691D0-9AAE-4EDB-AF34-F6E44A0B089C}" destId="{E1E39C3A-35FB-4C79-BC7F-3CB36ED65C88}" srcOrd="0" destOrd="0" presId="urn:microsoft.com/office/officeart/2005/8/layout/hierarchy2#1"/>
    <dgm:cxn modelId="{BBA4C543-70C7-4895-8B32-F01569EB4147}" type="presParOf" srcId="{E1E39C3A-35FB-4C79-BC7F-3CB36ED65C88}" destId="{F2538262-CCA0-48BC-B752-48CD235FA409}" srcOrd="0" destOrd="0" presId="urn:microsoft.com/office/officeart/2005/8/layout/hierarchy2#1"/>
    <dgm:cxn modelId="{0A851AC6-21AF-4E6C-81DA-6E832141A5A6}" type="presParOf" srcId="{77A691D0-9AAE-4EDB-AF34-F6E44A0B089C}" destId="{0F2E9038-63CA-4A5B-AE3F-DDB4B0E4234C}" srcOrd="1" destOrd="0" presId="urn:microsoft.com/office/officeart/2005/8/layout/hierarchy2#1"/>
    <dgm:cxn modelId="{0AA60747-BEDC-4D25-B615-4F50A8D8D54C}" type="presParOf" srcId="{0F2E9038-63CA-4A5B-AE3F-DDB4B0E4234C}" destId="{8C77A817-EB15-422F-A1AC-05BC1E62FF8C}" srcOrd="0" destOrd="0" presId="urn:microsoft.com/office/officeart/2005/8/layout/hierarchy2#1"/>
    <dgm:cxn modelId="{B5FD0524-F09B-47DD-8708-26B715D93B97}" type="presParOf" srcId="{0F2E9038-63CA-4A5B-AE3F-DDB4B0E4234C}" destId="{00065F6B-A9CA-4C21-BA90-6A79B9471630}" srcOrd="1" destOrd="0" presId="urn:microsoft.com/office/officeart/2005/8/layout/hierarchy2#1"/>
    <dgm:cxn modelId="{44FA96C2-2E0B-47FC-BCF1-82EC2D428959}" type="presParOf" srcId="{77A691D0-9AAE-4EDB-AF34-F6E44A0B089C}" destId="{DD2DE460-E221-457A-A256-B5386A1137B9}" srcOrd="2" destOrd="0" presId="urn:microsoft.com/office/officeart/2005/8/layout/hierarchy2#1"/>
    <dgm:cxn modelId="{DBDC1B3E-9BDE-492D-90FC-D1D909613FE0}" type="presParOf" srcId="{DD2DE460-E221-457A-A256-B5386A1137B9}" destId="{9F237321-D450-4ECF-963C-1B1CF24C9350}" srcOrd="0" destOrd="0" presId="urn:microsoft.com/office/officeart/2005/8/layout/hierarchy2#1"/>
    <dgm:cxn modelId="{DB39BE60-9C3A-4B1D-B667-23923D859B59}" type="presParOf" srcId="{77A691D0-9AAE-4EDB-AF34-F6E44A0B089C}" destId="{33EABA24-AD0B-45A3-98DD-C29B25D6032B}" srcOrd="3" destOrd="0" presId="urn:microsoft.com/office/officeart/2005/8/layout/hierarchy2#1"/>
    <dgm:cxn modelId="{62FE2A37-A34B-4A6B-8556-0C4B033A8514}" type="presParOf" srcId="{33EABA24-AD0B-45A3-98DD-C29B25D6032B}" destId="{80194284-941F-4EF0-BA0C-D574788390F8}" srcOrd="0" destOrd="0" presId="urn:microsoft.com/office/officeart/2005/8/layout/hierarchy2#1"/>
    <dgm:cxn modelId="{564305E4-F177-4429-8986-7983C3C9C1DB}" type="presParOf" srcId="{33EABA24-AD0B-45A3-98DD-C29B25D6032B}" destId="{526D40CD-C0A6-4486-8CA7-B65C28A76421}" srcOrd="1" destOrd="0" presId="urn:microsoft.com/office/officeart/2005/8/layout/hierarchy2#1"/>
    <dgm:cxn modelId="{5C11C245-6E01-4C8F-9AEE-55F3A5FD2220}" type="presParOf" srcId="{77A691D0-9AAE-4EDB-AF34-F6E44A0B089C}" destId="{12F49B66-5077-4F3A-91DE-EBA61FE5E267}" srcOrd="4" destOrd="0" presId="urn:microsoft.com/office/officeart/2005/8/layout/hierarchy2#1"/>
    <dgm:cxn modelId="{5DE7402D-AE18-4FFB-BBA7-334D7830B68A}" type="presParOf" srcId="{12F49B66-5077-4F3A-91DE-EBA61FE5E267}" destId="{A2C3745E-D11C-4CF1-AE3C-82DC6AAE80EE}" srcOrd="0" destOrd="0" presId="urn:microsoft.com/office/officeart/2005/8/layout/hierarchy2#1"/>
    <dgm:cxn modelId="{C5A4A19E-35F8-4BF5-BA6F-2FA113B5FA6E}" type="presParOf" srcId="{77A691D0-9AAE-4EDB-AF34-F6E44A0B089C}" destId="{8A0A9900-ADAD-43C0-A4EC-7D025E70EA30}" srcOrd="5" destOrd="0" presId="urn:microsoft.com/office/officeart/2005/8/layout/hierarchy2#1"/>
    <dgm:cxn modelId="{7DCEDD51-153D-4EFD-A5FF-A40DE381E5EF}" type="presParOf" srcId="{8A0A9900-ADAD-43C0-A4EC-7D025E70EA30}" destId="{6F138B29-21F1-4E80-A3E1-2769851F498F}" srcOrd="0" destOrd="0" presId="urn:microsoft.com/office/officeart/2005/8/layout/hierarchy2#1"/>
    <dgm:cxn modelId="{E201E3AD-5578-4565-96D9-60B214B8D3AD}" type="presParOf" srcId="{8A0A9900-ADAD-43C0-A4EC-7D025E70EA30}" destId="{3067942F-70AD-4A06-BE5C-497448193F57}" srcOrd="1" destOrd="0" presId="urn:microsoft.com/office/officeart/2005/8/layout/hierarchy2#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6642880C-E44D-4FEC-B056-7BFF06E3FB90}" type="doc">
      <dgm:prSet loTypeId="urn:microsoft.com/office/officeart/2005/8/layout/hProcess9#1" loCatId="process" qsTypeId="urn:microsoft.com/office/officeart/2005/8/quickstyle/3d2#2" qsCatId="3D" csTypeId="urn:microsoft.com/office/officeart/2005/8/colors/colorful4#2" csCatId="colorful" phldr="1"/>
      <dgm:spPr/>
    </dgm:pt>
    <dgm:pt modelId="{D9ACD227-8E36-488A-BFBD-1E6915DDCDC6}">
      <dgm:prSet phldrT="[Texto]" custT="1"/>
      <dgm:spPr/>
      <dgm:t>
        <a:bodyPr/>
        <a:lstStyle/>
        <a:p>
          <a:r>
            <a:rPr lang="es-ES" sz="2400" b="1" dirty="0" err="1" smtClean="0">
              <a:solidFill>
                <a:srgbClr val="FF0000"/>
              </a:solidFill>
            </a:rPr>
            <a:t>b.¿Qué</a:t>
          </a:r>
          <a:r>
            <a:rPr lang="es-ES" sz="2400" b="1" dirty="0" smtClean="0">
              <a:solidFill>
                <a:srgbClr val="FF0000"/>
              </a:solidFill>
            </a:rPr>
            <a:t> sabe hacer o qué ha aprendido el estudiante?</a:t>
          </a:r>
          <a:endParaRPr lang="es-ES" sz="2400" b="1" dirty="0">
            <a:solidFill>
              <a:srgbClr val="FF0000"/>
            </a:solidFill>
          </a:endParaRPr>
        </a:p>
      </dgm:t>
    </dgm:pt>
    <dgm:pt modelId="{E2D176F2-BD87-4B57-A4E4-FFD2585590D4}" type="parTrans" cxnId="{425F10C9-44F0-4719-81A4-2DA9192C258E}">
      <dgm:prSet/>
      <dgm:spPr/>
      <dgm:t>
        <a:bodyPr/>
        <a:lstStyle/>
        <a:p>
          <a:endParaRPr lang="es-ES"/>
        </a:p>
      </dgm:t>
    </dgm:pt>
    <dgm:pt modelId="{C78782FC-B8D8-4FCE-A3A8-5F5F3F4D8DFA}" type="sibTrans" cxnId="{425F10C9-44F0-4719-81A4-2DA9192C258E}">
      <dgm:prSet/>
      <dgm:spPr/>
      <dgm:t>
        <a:bodyPr/>
        <a:lstStyle/>
        <a:p>
          <a:endParaRPr lang="es-ES"/>
        </a:p>
      </dgm:t>
    </dgm:pt>
    <dgm:pt modelId="{385692B6-B056-411C-A35D-00DE3AECAD8D}">
      <dgm:prSet phldrT="[Texto]" custT="1"/>
      <dgm:spPr>
        <a:gradFill rotWithShape="0">
          <a:gsLst>
            <a:gs pos="0">
              <a:schemeClr val="accent6">
                <a:lumMod val="75000"/>
              </a:schemeClr>
            </a:gs>
            <a:gs pos="100000">
              <a:schemeClr val="accent4">
                <a:hueOff val="5197846"/>
                <a:satOff val="-23981"/>
                <a:lumOff val="883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hueOff val="5197846"/>
                <a:satOff val="-23981"/>
                <a:lumOff val="883"/>
                <a:alphaOff val="0"/>
                <a:lumMod val="99000"/>
                <a:satMod val="120000"/>
                <a:shade val="78000"/>
              </a:schemeClr>
            </a:gs>
          </a:gsLst>
        </a:gradFill>
      </dgm:spPr>
      <dgm:t>
        <a:bodyPr/>
        <a:lstStyle/>
        <a:p>
          <a:r>
            <a:rPr lang="es-ES" sz="2400" dirty="0" smtClean="0"/>
            <a:t>Evidencias de Aprendizaje</a:t>
          </a:r>
          <a:endParaRPr lang="es-ES" sz="2400" dirty="0"/>
        </a:p>
      </dgm:t>
    </dgm:pt>
    <dgm:pt modelId="{A9F5842C-78B4-4270-9E45-9B6F92A2AB05}" type="parTrans" cxnId="{36BDA2E5-8D18-4571-A329-6C270E7BCCA3}">
      <dgm:prSet/>
      <dgm:spPr/>
      <dgm:t>
        <a:bodyPr/>
        <a:lstStyle/>
        <a:p>
          <a:endParaRPr lang="es-ES"/>
        </a:p>
      </dgm:t>
    </dgm:pt>
    <dgm:pt modelId="{0430ADDC-F127-496D-B830-FA1C3F7E2E4F}" type="sibTrans" cxnId="{36BDA2E5-8D18-4571-A329-6C270E7BCCA3}">
      <dgm:prSet/>
      <dgm:spPr/>
      <dgm:t>
        <a:bodyPr/>
        <a:lstStyle/>
        <a:p>
          <a:endParaRPr lang="es-ES"/>
        </a:p>
      </dgm:t>
    </dgm:pt>
    <dgm:pt modelId="{4DD5760D-F121-4FDA-B58F-B9136E71C43C}">
      <dgm:prSet phldrT="[Texto]" custT="1"/>
      <dgm:spPr>
        <a:gradFill rotWithShape="0">
          <a:gsLst>
            <a:gs pos="0">
              <a:schemeClr val="accent1">
                <a:lumMod val="60000"/>
                <a:lumOff val="40000"/>
              </a:schemeClr>
            </a:gs>
            <a:gs pos="0">
              <a:schemeClr val="accent1"/>
            </a:gs>
          </a:gsLst>
        </a:gradFill>
      </dgm:spPr>
      <dgm:t>
        <a:bodyPr/>
        <a:lstStyle/>
        <a:p>
          <a:r>
            <a:rPr lang="es-ES" sz="2400" b="1" dirty="0" smtClean="0">
              <a:solidFill>
                <a:srgbClr val="7030A0"/>
              </a:solidFill>
            </a:rPr>
            <a:t>Nivel de logro que alcanzó en la competencia</a:t>
          </a:r>
          <a:endParaRPr lang="es-ES" sz="2400" b="1" dirty="0">
            <a:solidFill>
              <a:srgbClr val="7030A0"/>
            </a:solidFill>
          </a:endParaRPr>
        </a:p>
      </dgm:t>
    </dgm:pt>
    <dgm:pt modelId="{E322142D-6503-4A5D-9281-3C5C4B5DF60A}" type="parTrans" cxnId="{AC4C21FC-B11D-4950-9651-25714C4EB1CC}">
      <dgm:prSet/>
      <dgm:spPr/>
      <dgm:t>
        <a:bodyPr/>
        <a:lstStyle/>
        <a:p>
          <a:endParaRPr lang="es-ES"/>
        </a:p>
      </dgm:t>
    </dgm:pt>
    <dgm:pt modelId="{BC43F804-2CA6-4397-8036-5075C5F0E7FC}" type="sibTrans" cxnId="{AC4C21FC-B11D-4950-9651-25714C4EB1CC}">
      <dgm:prSet/>
      <dgm:spPr/>
      <dgm:t>
        <a:bodyPr/>
        <a:lstStyle/>
        <a:p>
          <a:endParaRPr lang="es-ES"/>
        </a:p>
      </dgm:t>
    </dgm:pt>
    <dgm:pt modelId="{7007A377-7EBE-4DE0-8A8A-C24313D6F0E9}" type="pres">
      <dgm:prSet presAssocID="{6642880C-E44D-4FEC-B056-7BFF06E3FB90}" presName="CompostProcess" presStyleCnt="0">
        <dgm:presLayoutVars>
          <dgm:dir/>
          <dgm:resizeHandles val="exact"/>
        </dgm:presLayoutVars>
      </dgm:prSet>
      <dgm:spPr/>
    </dgm:pt>
    <dgm:pt modelId="{538446B1-1570-4120-83A3-957EC84371EA}" type="pres">
      <dgm:prSet presAssocID="{6642880C-E44D-4FEC-B056-7BFF06E3FB90}" presName="arrow" presStyleLbl="bgShp" presStyleIdx="0" presStyleCnt="1" custLinFactNeighborX="-6983" custLinFactNeighborY="3277"/>
      <dgm:spPr>
        <a:gradFill rotWithShape="0">
          <a:gsLst>
            <a:gs pos="83000">
              <a:schemeClr val="accent2">
                <a:lumMod val="60000"/>
                <a:lumOff val="40000"/>
              </a:schemeClr>
            </a:gs>
            <a:gs pos="100000">
              <a:schemeClr val="accent4">
                <a:tint val="4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</a:gradFill>
      </dgm:spPr>
    </dgm:pt>
    <dgm:pt modelId="{DB10A177-E94A-41F5-8B90-98722C9F9936}" type="pres">
      <dgm:prSet presAssocID="{6642880C-E44D-4FEC-B056-7BFF06E3FB90}" presName="linearProcess" presStyleCnt="0"/>
      <dgm:spPr/>
    </dgm:pt>
    <dgm:pt modelId="{A10D43D7-3E00-4206-86CF-0D3693B1D2D0}" type="pres">
      <dgm:prSet presAssocID="{D9ACD227-8E36-488A-BFBD-1E6915DDCDC6}" presName="textNode" presStyleLbl="node1" presStyleIdx="0" presStyleCnt="3" custScaleY="7603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15C97E40-F93D-444D-B646-D4C5B242D046}" type="pres">
      <dgm:prSet presAssocID="{C78782FC-B8D8-4FCE-A3A8-5F5F3F4D8DFA}" presName="sibTrans" presStyleCnt="0"/>
      <dgm:spPr/>
    </dgm:pt>
    <dgm:pt modelId="{12063AE7-6C43-4230-BA79-94113188612C}" type="pres">
      <dgm:prSet presAssocID="{385692B6-B056-411C-A35D-00DE3AECAD8D}" presName="textNode" presStyleLbl="node1" presStyleIdx="1" presStyleCnt="3" custScaleY="81631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314AA3C4-F135-4166-8F08-AF3BD1513E17}" type="pres">
      <dgm:prSet presAssocID="{0430ADDC-F127-496D-B830-FA1C3F7E2E4F}" presName="sibTrans" presStyleCnt="0"/>
      <dgm:spPr/>
    </dgm:pt>
    <dgm:pt modelId="{F59393B5-70AB-44A6-AD6B-2DB869D991D0}" type="pres">
      <dgm:prSet presAssocID="{4DD5760D-F121-4FDA-B58F-B9136E71C43C}" presName="textNode" presStyleLbl="node1" presStyleIdx="2" presStyleCnt="3" custScaleY="69720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36BDA2E5-8D18-4571-A329-6C270E7BCCA3}" srcId="{6642880C-E44D-4FEC-B056-7BFF06E3FB90}" destId="{385692B6-B056-411C-A35D-00DE3AECAD8D}" srcOrd="1" destOrd="0" parTransId="{A9F5842C-78B4-4270-9E45-9B6F92A2AB05}" sibTransId="{0430ADDC-F127-496D-B830-FA1C3F7E2E4F}"/>
    <dgm:cxn modelId="{AC4C21FC-B11D-4950-9651-25714C4EB1CC}" srcId="{6642880C-E44D-4FEC-B056-7BFF06E3FB90}" destId="{4DD5760D-F121-4FDA-B58F-B9136E71C43C}" srcOrd="2" destOrd="0" parTransId="{E322142D-6503-4A5D-9281-3C5C4B5DF60A}" sibTransId="{BC43F804-2CA6-4397-8036-5075C5F0E7FC}"/>
    <dgm:cxn modelId="{40652156-479F-4DE5-A919-0E4440A19EDE}" type="presOf" srcId="{6642880C-E44D-4FEC-B056-7BFF06E3FB90}" destId="{7007A377-7EBE-4DE0-8A8A-C24313D6F0E9}" srcOrd="0" destOrd="0" presId="urn:microsoft.com/office/officeart/2005/8/layout/hProcess9#1"/>
    <dgm:cxn modelId="{425F10C9-44F0-4719-81A4-2DA9192C258E}" srcId="{6642880C-E44D-4FEC-B056-7BFF06E3FB90}" destId="{D9ACD227-8E36-488A-BFBD-1E6915DDCDC6}" srcOrd="0" destOrd="0" parTransId="{E2D176F2-BD87-4B57-A4E4-FFD2585590D4}" sibTransId="{C78782FC-B8D8-4FCE-A3A8-5F5F3F4D8DFA}"/>
    <dgm:cxn modelId="{C1C941F6-C9C9-47C1-96AB-F5E413D90463}" type="presOf" srcId="{385692B6-B056-411C-A35D-00DE3AECAD8D}" destId="{12063AE7-6C43-4230-BA79-94113188612C}" srcOrd="0" destOrd="0" presId="urn:microsoft.com/office/officeart/2005/8/layout/hProcess9#1"/>
    <dgm:cxn modelId="{B63BE7D1-E631-42B1-A938-5D8F231D5ECD}" type="presOf" srcId="{D9ACD227-8E36-488A-BFBD-1E6915DDCDC6}" destId="{A10D43D7-3E00-4206-86CF-0D3693B1D2D0}" srcOrd="0" destOrd="0" presId="urn:microsoft.com/office/officeart/2005/8/layout/hProcess9#1"/>
    <dgm:cxn modelId="{0961CC04-F014-4425-B80A-DF810E0BB912}" type="presOf" srcId="{4DD5760D-F121-4FDA-B58F-B9136E71C43C}" destId="{F59393B5-70AB-44A6-AD6B-2DB869D991D0}" srcOrd="0" destOrd="0" presId="urn:microsoft.com/office/officeart/2005/8/layout/hProcess9#1"/>
    <dgm:cxn modelId="{4A7463E0-1B9E-48D6-9278-3DD3923B1B16}" type="presParOf" srcId="{7007A377-7EBE-4DE0-8A8A-C24313D6F0E9}" destId="{538446B1-1570-4120-83A3-957EC84371EA}" srcOrd="0" destOrd="0" presId="urn:microsoft.com/office/officeart/2005/8/layout/hProcess9#1"/>
    <dgm:cxn modelId="{EFC8A487-66DC-44A8-88B3-16CBB63B5EC7}" type="presParOf" srcId="{7007A377-7EBE-4DE0-8A8A-C24313D6F0E9}" destId="{DB10A177-E94A-41F5-8B90-98722C9F9936}" srcOrd="1" destOrd="0" presId="urn:microsoft.com/office/officeart/2005/8/layout/hProcess9#1"/>
    <dgm:cxn modelId="{D6B95362-BE80-406B-8056-A82F3E24C693}" type="presParOf" srcId="{DB10A177-E94A-41F5-8B90-98722C9F9936}" destId="{A10D43D7-3E00-4206-86CF-0D3693B1D2D0}" srcOrd="0" destOrd="0" presId="urn:microsoft.com/office/officeart/2005/8/layout/hProcess9#1"/>
    <dgm:cxn modelId="{8E5391D3-A7AB-4997-BAA4-4E045D686B9B}" type="presParOf" srcId="{DB10A177-E94A-41F5-8B90-98722C9F9936}" destId="{15C97E40-F93D-444D-B646-D4C5B242D046}" srcOrd="1" destOrd="0" presId="urn:microsoft.com/office/officeart/2005/8/layout/hProcess9#1"/>
    <dgm:cxn modelId="{8DA57783-0998-4D96-B41B-7238654EF31B}" type="presParOf" srcId="{DB10A177-E94A-41F5-8B90-98722C9F9936}" destId="{12063AE7-6C43-4230-BA79-94113188612C}" srcOrd="2" destOrd="0" presId="urn:microsoft.com/office/officeart/2005/8/layout/hProcess9#1"/>
    <dgm:cxn modelId="{01523790-3DB8-4AC1-98F9-643FAAB54027}" type="presParOf" srcId="{DB10A177-E94A-41F5-8B90-98722C9F9936}" destId="{314AA3C4-F135-4166-8F08-AF3BD1513E17}" srcOrd="3" destOrd="0" presId="urn:microsoft.com/office/officeart/2005/8/layout/hProcess9#1"/>
    <dgm:cxn modelId="{A6E8090F-416E-4363-B5AE-761BF5C1BC4E}" type="presParOf" srcId="{DB10A177-E94A-41F5-8B90-98722C9F9936}" destId="{F59393B5-70AB-44A6-AD6B-2DB869D991D0}" srcOrd="4" destOrd="0" presId="urn:microsoft.com/office/officeart/2005/8/layout/hProcess9#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4B18D77F-8875-4A68-9707-A107D15738DB}" type="doc">
      <dgm:prSet loTypeId="urn:microsoft.com/office/officeart/2005/8/layout/gear1#1" loCatId="cycle" qsTypeId="urn:microsoft.com/office/officeart/2005/8/quickstyle/3d2#3" qsCatId="3D" csTypeId="urn:microsoft.com/office/officeart/2005/8/colors/colorful4#3" csCatId="colorful" phldr="1"/>
      <dgm:spPr/>
    </dgm:pt>
    <dgm:pt modelId="{A1EAD13F-740A-4610-8983-B08EC63CD15B}">
      <dgm:prSet phldrT="[Texto]" custT="1"/>
      <dgm:spPr/>
      <dgm:t>
        <a:bodyPr/>
        <a:lstStyle/>
        <a:p>
          <a:r>
            <a:rPr lang="es-ES" sz="2400" b="1" dirty="0" smtClean="0">
              <a:solidFill>
                <a:srgbClr val="FF0000"/>
              </a:solidFill>
            </a:rPr>
            <a:t>c. ¿Qué debe hacer para seguir aprendiendo?</a:t>
          </a:r>
          <a:endParaRPr lang="es-ES" sz="2400" b="1" dirty="0">
            <a:solidFill>
              <a:srgbClr val="FF0000"/>
            </a:solidFill>
          </a:endParaRPr>
        </a:p>
      </dgm:t>
    </dgm:pt>
    <dgm:pt modelId="{13F47DB8-35BF-4E01-B73D-4A30BD760A0A}" type="parTrans" cxnId="{C3C41A7F-ACDB-499D-9158-FED3B66695B8}">
      <dgm:prSet/>
      <dgm:spPr/>
      <dgm:t>
        <a:bodyPr/>
        <a:lstStyle/>
        <a:p>
          <a:endParaRPr lang="es-ES"/>
        </a:p>
      </dgm:t>
    </dgm:pt>
    <dgm:pt modelId="{DB59625B-4ED1-45FD-B3BB-D6FAEA2069E3}" type="sibTrans" cxnId="{C3C41A7F-ACDB-499D-9158-FED3B66695B8}">
      <dgm:prSet/>
      <dgm:spPr/>
      <dgm:t>
        <a:bodyPr/>
        <a:lstStyle/>
        <a:p>
          <a:endParaRPr lang="es-ES"/>
        </a:p>
      </dgm:t>
    </dgm:pt>
    <dgm:pt modelId="{DC803724-C02D-4E89-866A-DC1702305BED}">
      <dgm:prSet phldrT="[Texto]" phldr="0" custT="1"/>
      <dgm:spPr>
        <a:gradFill rotWithShape="0">
          <a:gsLst>
            <a:gs pos="0">
              <a:schemeClr val="accent6">
                <a:lumMod val="60000"/>
                <a:lumOff val="40000"/>
              </a:schemeClr>
            </a:gs>
            <a:gs pos="0">
              <a:srgbClr val="92D050"/>
            </a:gs>
            <a:gs pos="100000">
              <a:schemeClr val="accent4">
                <a:hueOff val="5197846"/>
                <a:satOff val="-23982"/>
                <a:lumOff val="883"/>
                <a:alphaOff val="0"/>
                <a:lumMod val="99000"/>
                <a:satMod val="120000"/>
                <a:shade val="78000"/>
              </a:schemeClr>
            </a:gs>
          </a:gsLst>
        </a:gradFill>
      </dgm:spPr>
      <dgm:t>
        <a:bodyPr vert="horz" wrap="square"/>
        <a:lstStyle/>
        <a:p>
          <a:pPr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s-ES" sz="2000" dirty="0" smtClean="0">
              <a:solidFill>
                <a:schemeClr val="tx1"/>
              </a:solidFill>
            </a:rPr>
            <a:t>Retroalimentación</a:t>
          </a:r>
        </a:p>
      </dgm:t>
    </dgm:pt>
    <dgm:pt modelId="{61C5E727-C92F-4916-8246-C5F9A0104F01}" type="parTrans" cxnId="{C1540574-F991-40AA-A997-636840419F45}">
      <dgm:prSet/>
      <dgm:spPr/>
      <dgm:t>
        <a:bodyPr/>
        <a:lstStyle/>
        <a:p>
          <a:endParaRPr lang="es-ES"/>
        </a:p>
      </dgm:t>
    </dgm:pt>
    <dgm:pt modelId="{1476B940-69A8-4918-B2A9-1B973E3A0ADE}" type="sibTrans" cxnId="{C1540574-F991-40AA-A997-636840419F45}">
      <dgm:prSet/>
      <dgm:spPr>
        <a:solidFill>
          <a:schemeClr val="accent6">
            <a:lumMod val="75000"/>
          </a:schemeClr>
        </a:solidFill>
      </dgm:spPr>
      <dgm:t>
        <a:bodyPr/>
        <a:lstStyle/>
        <a:p>
          <a:endParaRPr lang="es-ES"/>
        </a:p>
      </dgm:t>
    </dgm:pt>
    <dgm:pt modelId="{DF13E28E-39EE-4564-8032-E25583DE758C}" type="pres">
      <dgm:prSet presAssocID="{4B18D77F-8875-4A68-9707-A107D15738DB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C8DB45C3-5062-459F-A59F-40F9D9412C16}" type="pres">
      <dgm:prSet presAssocID="{A1EAD13F-740A-4610-8983-B08EC63CD15B}" presName="gear1" presStyleLbl="node1" presStyleIdx="0" presStyleCnt="2" custScaleX="108019" custScaleY="102915" custLinFactNeighborX="-69738" custLinFactNeighborY="-40283">
        <dgm:presLayoutVars>
          <dgm:chMax val="1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58F2A9B7-CCAD-4403-B5E5-F6D4CC3C294D}" type="pres">
      <dgm:prSet presAssocID="{A1EAD13F-740A-4610-8983-B08EC63CD15B}" presName="gear1srcNode" presStyleLbl="node1" presStyleIdx="0" presStyleCnt="2"/>
      <dgm:spPr/>
      <dgm:t>
        <a:bodyPr/>
        <a:lstStyle/>
        <a:p>
          <a:endParaRPr lang="es-ES"/>
        </a:p>
      </dgm:t>
    </dgm:pt>
    <dgm:pt modelId="{3445C213-F1CE-4347-B229-11DC353A0B14}" type="pres">
      <dgm:prSet presAssocID="{A1EAD13F-740A-4610-8983-B08EC63CD15B}" presName="gear1dstNode" presStyleLbl="node1" presStyleIdx="0" presStyleCnt="2"/>
      <dgm:spPr/>
      <dgm:t>
        <a:bodyPr/>
        <a:lstStyle/>
        <a:p>
          <a:endParaRPr lang="es-ES"/>
        </a:p>
      </dgm:t>
    </dgm:pt>
    <dgm:pt modelId="{389E8F03-FDA8-4AD2-B5D3-F1EF42A91A00}" type="pres">
      <dgm:prSet presAssocID="{DC803724-C02D-4E89-866A-DC1702305BED}" presName="gear2" presStyleLbl="node1" presStyleIdx="1" presStyleCnt="2" custScaleX="126674" custScaleY="114170" custLinFactX="17071" custLinFactNeighborX="100000" custLinFactNeighborY="44288">
        <dgm:presLayoutVars>
          <dgm:chMax val="1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F58070D1-11BB-42AA-83BA-45E26CCE1BC7}" type="pres">
      <dgm:prSet presAssocID="{DC803724-C02D-4E89-866A-DC1702305BED}" presName="gear2srcNode" presStyleLbl="node1" presStyleIdx="1" presStyleCnt="2"/>
      <dgm:spPr/>
      <dgm:t>
        <a:bodyPr/>
        <a:lstStyle/>
        <a:p>
          <a:endParaRPr lang="es-ES"/>
        </a:p>
      </dgm:t>
    </dgm:pt>
    <dgm:pt modelId="{38B74B10-57A0-439B-AE4B-27408F705832}" type="pres">
      <dgm:prSet presAssocID="{DC803724-C02D-4E89-866A-DC1702305BED}" presName="gear2dstNode" presStyleLbl="node1" presStyleIdx="1" presStyleCnt="2"/>
      <dgm:spPr/>
      <dgm:t>
        <a:bodyPr/>
        <a:lstStyle/>
        <a:p>
          <a:endParaRPr lang="es-ES"/>
        </a:p>
      </dgm:t>
    </dgm:pt>
    <dgm:pt modelId="{1FC28AE7-675D-4CC1-8976-FCD899AAFF81}" type="pres">
      <dgm:prSet presAssocID="{DB59625B-4ED1-45FD-B3BB-D6FAEA2069E3}" presName="connector1" presStyleLbl="sibTrans2D1" presStyleIdx="0" presStyleCnt="2" custAng="13374619" custLinFactNeighborX="-81575" custLinFactNeighborY="-29032"/>
      <dgm:spPr/>
      <dgm:t>
        <a:bodyPr/>
        <a:lstStyle/>
        <a:p>
          <a:endParaRPr lang="es-ES"/>
        </a:p>
      </dgm:t>
    </dgm:pt>
    <dgm:pt modelId="{DE7535F4-F8BA-416F-8B9C-9E5897FC41A9}" type="pres">
      <dgm:prSet presAssocID="{1476B940-69A8-4918-B2A9-1B973E3A0ADE}" presName="connector2" presStyleLbl="sibTrans2D1" presStyleIdx="1" presStyleCnt="2" custAng="8366687" custLinFactX="6555" custLinFactNeighborX="100000" custLinFactNeighborY="30443"/>
      <dgm:spPr/>
      <dgm:t>
        <a:bodyPr/>
        <a:lstStyle/>
        <a:p>
          <a:endParaRPr lang="es-ES"/>
        </a:p>
      </dgm:t>
    </dgm:pt>
  </dgm:ptLst>
  <dgm:cxnLst>
    <dgm:cxn modelId="{38C03786-4AEF-45A9-8989-42B80743B66D}" type="presOf" srcId="{DB59625B-4ED1-45FD-B3BB-D6FAEA2069E3}" destId="{1FC28AE7-675D-4CC1-8976-FCD899AAFF81}" srcOrd="0" destOrd="0" presId="urn:microsoft.com/office/officeart/2005/8/layout/gear1#1"/>
    <dgm:cxn modelId="{33C9F58C-9CF8-4EB6-B69F-6C171EA48AD8}" type="presOf" srcId="{DC803724-C02D-4E89-866A-DC1702305BED}" destId="{389E8F03-FDA8-4AD2-B5D3-F1EF42A91A00}" srcOrd="0" destOrd="0" presId="urn:microsoft.com/office/officeart/2005/8/layout/gear1#1"/>
    <dgm:cxn modelId="{F64A69A6-CE1A-485E-BD85-7279D0EEECC9}" type="presOf" srcId="{A1EAD13F-740A-4610-8983-B08EC63CD15B}" destId="{58F2A9B7-CCAD-4403-B5E5-F6D4CC3C294D}" srcOrd="1" destOrd="0" presId="urn:microsoft.com/office/officeart/2005/8/layout/gear1#1"/>
    <dgm:cxn modelId="{39501EF3-80D0-4587-97B3-5DD48AE765D3}" type="presOf" srcId="{DC803724-C02D-4E89-866A-DC1702305BED}" destId="{F58070D1-11BB-42AA-83BA-45E26CCE1BC7}" srcOrd="1" destOrd="0" presId="urn:microsoft.com/office/officeart/2005/8/layout/gear1#1"/>
    <dgm:cxn modelId="{C1540574-F991-40AA-A997-636840419F45}" srcId="{4B18D77F-8875-4A68-9707-A107D15738DB}" destId="{DC803724-C02D-4E89-866A-DC1702305BED}" srcOrd="1" destOrd="0" parTransId="{61C5E727-C92F-4916-8246-C5F9A0104F01}" sibTransId="{1476B940-69A8-4918-B2A9-1B973E3A0ADE}"/>
    <dgm:cxn modelId="{D443B352-5AD2-4CC7-AF6F-F6F4F9A450F3}" type="presOf" srcId="{A1EAD13F-740A-4610-8983-B08EC63CD15B}" destId="{C8DB45C3-5062-459F-A59F-40F9D9412C16}" srcOrd="0" destOrd="0" presId="urn:microsoft.com/office/officeart/2005/8/layout/gear1#1"/>
    <dgm:cxn modelId="{6CE808E6-E287-432D-9079-89A9A819BFC4}" type="presOf" srcId="{A1EAD13F-740A-4610-8983-B08EC63CD15B}" destId="{3445C213-F1CE-4347-B229-11DC353A0B14}" srcOrd="2" destOrd="0" presId="urn:microsoft.com/office/officeart/2005/8/layout/gear1#1"/>
    <dgm:cxn modelId="{42215447-50BD-4659-A012-C90908BC1DA6}" type="presOf" srcId="{1476B940-69A8-4918-B2A9-1B973E3A0ADE}" destId="{DE7535F4-F8BA-416F-8B9C-9E5897FC41A9}" srcOrd="0" destOrd="0" presId="urn:microsoft.com/office/officeart/2005/8/layout/gear1#1"/>
    <dgm:cxn modelId="{5FA25EF0-0F18-433A-89E5-5639269CFDA5}" type="presOf" srcId="{DC803724-C02D-4E89-866A-DC1702305BED}" destId="{38B74B10-57A0-439B-AE4B-27408F705832}" srcOrd="2" destOrd="0" presId="urn:microsoft.com/office/officeart/2005/8/layout/gear1#1"/>
    <dgm:cxn modelId="{C3C41A7F-ACDB-499D-9158-FED3B66695B8}" srcId="{4B18D77F-8875-4A68-9707-A107D15738DB}" destId="{A1EAD13F-740A-4610-8983-B08EC63CD15B}" srcOrd="0" destOrd="0" parTransId="{13F47DB8-35BF-4E01-B73D-4A30BD760A0A}" sibTransId="{DB59625B-4ED1-45FD-B3BB-D6FAEA2069E3}"/>
    <dgm:cxn modelId="{341050F9-1B4B-4E67-A803-CF4266D5ECAB}" type="presOf" srcId="{4B18D77F-8875-4A68-9707-A107D15738DB}" destId="{DF13E28E-39EE-4564-8032-E25583DE758C}" srcOrd="0" destOrd="0" presId="urn:microsoft.com/office/officeart/2005/8/layout/gear1#1"/>
    <dgm:cxn modelId="{C80B11C2-919D-4F07-8EB0-FAB10B5A21BA}" type="presParOf" srcId="{DF13E28E-39EE-4564-8032-E25583DE758C}" destId="{C8DB45C3-5062-459F-A59F-40F9D9412C16}" srcOrd="0" destOrd="0" presId="urn:microsoft.com/office/officeart/2005/8/layout/gear1#1"/>
    <dgm:cxn modelId="{AE90A293-EF23-435C-82FB-432FF9C318C6}" type="presParOf" srcId="{DF13E28E-39EE-4564-8032-E25583DE758C}" destId="{58F2A9B7-CCAD-4403-B5E5-F6D4CC3C294D}" srcOrd="1" destOrd="0" presId="urn:microsoft.com/office/officeart/2005/8/layout/gear1#1"/>
    <dgm:cxn modelId="{0910AF2B-A2EA-40E2-AE7E-9028E1C8C9DD}" type="presParOf" srcId="{DF13E28E-39EE-4564-8032-E25583DE758C}" destId="{3445C213-F1CE-4347-B229-11DC353A0B14}" srcOrd="2" destOrd="0" presId="urn:microsoft.com/office/officeart/2005/8/layout/gear1#1"/>
    <dgm:cxn modelId="{F09DCD24-18B9-47A5-A589-BBFFC668B447}" type="presParOf" srcId="{DF13E28E-39EE-4564-8032-E25583DE758C}" destId="{389E8F03-FDA8-4AD2-B5D3-F1EF42A91A00}" srcOrd="3" destOrd="0" presId="urn:microsoft.com/office/officeart/2005/8/layout/gear1#1"/>
    <dgm:cxn modelId="{349D23B4-1B48-4388-BE45-D9B249DDB1F9}" type="presParOf" srcId="{DF13E28E-39EE-4564-8032-E25583DE758C}" destId="{F58070D1-11BB-42AA-83BA-45E26CCE1BC7}" srcOrd="4" destOrd="0" presId="urn:microsoft.com/office/officeart/2005/8/layout/gear1#1"/>
    <dgm:cxn modelId="{9C78D1C9-4526-4FCC-96C4-B1C2F7F911C1}" type="presParOf" srcId="{DF13E28E-39EE-4564-8032-E25583DE758C}" destId="{38B74B10-57A0-439B-AE4B-27408F705832}" srcOrd="5" destOrd="0" presId="urn:microsoft.com/office/officeart/2005/8/layout/gear1#1"/>
    <dgm:cxn modelId="{715F5ECB-C3E2-45D6-B53A-02AA20789A55}" type="presParOf" srcId="{DF13E28E-39EE-4564-8032-E25583DE758C}" destId="{1FC28AE7-675D-4CC1-8976-FCD899AAFF81}" srcOrd="6" destOrd="0" presId="urn:microsoft.com/office/officeart/2005/8/layout/gear1#1"/>
    <dgm:cxn modelId="{9F6CBC0D-AB48-4A96-9033-4AEA882BA0E2}" type="presParOf" srcId="{DF13E28E-39EE-4564-8032-E25583DE758C}" destId="{DE7535F4-F8BA-416F-8B9C-9E5897FC41A9}" srcOrd="7" destOrd="0" presId="urn:microsoft.com/office/officeart/2005/8/layout/gear1#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3B23CB4B-B708-41FC-AC7C-F015174B1E3D}" type="doc">
      <dgm:prSet loTypeId="urn:microsoft.com/office/officeart/2009/3/layout/StepUpProcess#1" loCatId="process" qsTypeId="urn:microsoft.com/office/officeart/2005/8/quickstyle/simple1#1" qsCatId="simple" csTypeId="urn:microsoft.com/office/officeart/2005/8/colors/colorful1#2" csCatId="colorful" phldr="1"/>
      <dgm:spPr/>
      <dgm:t>
        <a:bodyPr/>
        <a:lstStyle/>
        <a:p>
          <a:endParaRPr lang="es-ES"/>
        </a:p>
      </dgm:t>
    </dgm:pt>
    <dgm:pt modelId="{449A498D-B600-49BA-BF5E-458E71D1CB03}">
      <dgm:prSet phldrT="[Texto]"/>
      <dgm:spPr/>
      <dgm:t>
        <a:bodyPr/>
        <a:lstStyle/>
        <a:p>
          <a:r>
            <a:rPr lang="es-ES" dirty="0" smtClean="0"/>
            <a:t>Avances, dificultades y aquello que puede mejorar el estudiante.</a:t>
          </a:r>
          <a:endParaRPr lang="es-ES" dirty="0"/>
        </a:p>
      </dgm:t>
    </dgm:pt>
    <dgm:pt modelId="{3B264FAB-331C-4B1C-B85A-E9853C9C7CDA}" type="parTrans" cxnId="{5CF580CC-DED7-421D-BDB8-4D462EACBE24}">
      <dgm:prSet/>
      <dgm:spPr/>
      <dgm:t>
        <a:bodyPr/>
        <a:lstStyle/>
        <a:p>
          <a:endParaRPr lang="es-ES"/>
        </a:p>
      </dgm:t>
    </dgm:pt>
    <dgm:pt modelId="{4E6341AD-813D-403B-B28C-FC2FDD8E9DC4}" type="sibTrans" cxnId="{5CF580CC-DED7-421D-BDB8-4D462EACBE24}">
      <dgm:prSet/>
      <dgm:spPr/>
      <dgm:t>
        <a:bodyPr/>
        <a:lstStyle/>
        <a:p>
          <a:endParaRPr lang="es-ES"/>
        </a:p>
      </dgm:t>
    </dgm:pt>
    <dgm:pt modelId="{EAB0C844-F51E-4DFB-A536-30F0D99FAE94}">
      <dgm:prSet phldrT="[Texto]"/>
      <dgm:spPr/>
      <dgm:t>
        <a:bodyPr/>
        <a:lstStyle/>
        <a:p>
          <a:r>
            <a:rPr lang="es-ES" dirty="0" smtClean="0"/>
            <a:t>No se restringe a momentos específicos.</a:t>
          </a:r>
          <a:endParaRPr lang="es-ES" dirty="0"/>
        </a:p>
      </dgm:t>
    </dgm:pt>
    <dgm:pt modelId="{95DC7677-5C08-4DA3-B454-9DAAE0224E24}" type="parTrans" cxnId="{64AD818D-B809-4490-8E65-E077EA5B1890}">
      <dgm:prSet/>
      <dgm:spPr/>
      <dgm:t>
        <a:bodyPr/>
        <a:lstStyle/>
        <a:p>
          <a:endParaRPr lang="es-ES"/>
        </a:p>
      </dgm:t>
    </dgm:pt>
    <dgm:pt modelId="{0E651F1F-8BE4-454B-8DCC-99F0DB2A193B}" type="sibTrans" cxnId="{64AD818D-B809-4490-8E65-E077EA5B1890}">
      <dgm:prSet/>
      <dgm:spPr/>
      <dgm:t>
        <a:bodyPr/>
        <a:lstStyle/>
        <a:p>
          <a:endParaRPr lang="es-ES"/>
        </a:p>
      </dgm:t>
    </dgm:pt>
    <dgm:pt modelId="{E8A4A52C-7F80-4B4D-9F05-C543F8BAE61E}">
      <dgm:prSet phldrT="[Texto]"/>
      <dgm:spPr/>
      <dgm:t>
        <a:bodyPr/>
        <a:lstStyle/>
        <a:p>
          <a:r>
            <a:rPr lang="es-ES" dirty="0" smtClean="0"/>
            <a:t>El docente evalúa la efectividad de sus estrategias de enseñanza y las ajusta para atender mejor. </a:t>
          </a:r>
          <a:endParaRPr lang="es-ES" dirty="0"/>
        </a:p>
      </dgm:t>
    </dgm:pt>
    <dgm:pt modelId="{6E7FB476-002B-4683-9F34-F77C46BB99C7}" type="parTrans" cxnId="{1AC5652B-936A-452C-9AEB-E0AE9DC832AD}">
      <dgm:prSet/>
      <dgm:spPr/>
      <dgm:t>
        <a:bodyPr/>
        <a:lstStyle/>
        <a:p>
          <a:endParaRPr lang="es-ES"/>
        </a:p>
      </dgm:t>
    </dgm:pt>
    <dgm:pt modelId="{3ED9540D-AA1D-4A4C-8914-5607E79B5C13}" type="sibTrans" cxnId="{1AC5652B-936A-452C-9AEB-E0AE9DC832AD}">
      <dgm:prSet/>
      <dgm:spPr/>
      <dgm:t>
        <a:bodyPr/>
        <a:lstStyle/>
        <a:p>
          <a:endParaRPr lang="es-ES"/>
        </a:p>
      </dgm:t>
    </dgm:pt>
    <dgm:pt modelId="{768212EE-A3B9-4148-8EB3-078C56607C6E}" type="pres">
      <dgm:prSet presAssocID="{3B23CB4B-B708-41FC-AC7C-F015174B1E3D}" presName="rootnode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es-ES"/>
        </a:p>
      </dgm:t>
    </dgm:pt>
    <dgm:pt modelId="{EF0D2E20-4F9C-4338-9EBD-522C70E13036}" type="pres">
      <dgm:prSet presAssocID="{449A498D-B600-49BA-BF5E-458E71D1CB03}" presName="composite" presStyleCnt="0"/>
      <dgm:spPr/>
    </dgm:pt>
    <dgm:pt modelId="{A9FDE50D-9DE0-47E3-8EB5-D7FD878FCD9D}" type="pres">
      <dgm:prSet presAssocID="{449A498D-B600-49BA-BF5E-458E71D1CB03}" presName="LShape" presStyleLbl="alignNode1" presStyleIdx="0" presStyleCnt="5"/>
      <dgm:spPr/>
    </dgm:pt>
    <dgm:pt modelId="{DE40858A-6F0E-48CD-B2DF-10B083C136CA}" type="pres">
      <dgm:prSet presAssocID="{449A498D-B600-49BA-BF5E-458E71D1CB03}" presName="ParentText" presStyleLbl="revTx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32F0D408-E9D7-43D4-A668-9F774C73F08B}" type="pres">
      <dgm:prSet presAssocID="{449A498D-B600-49BA-BF5E-458E71D1CB03}" presName="Triangle" presStyleLbl="alignNode1" presStyleIdx="1" presStyleCnt="5"/>
      <dgm:spPr/>
    </dgm:pt>
    <dgm:pt modelId="{A2FFCBBF-CDDC-43F1-9D9E-50239E1B1002}" type="pres">
      <dgm:prSet presAssocID="{4E6341AD-813D-403B-B28C-FC2FDD8E9DC4}" presName="sibTrans" presStyleCnt="0"/>
      <dgm:spPr/>
    </dgm:pt>
    <dgm:pt modelId="{C657872D-A27E-4ACE-BAEA-7D955E825446}" type="pres">
      <dgm:prSet presAssocID="{4E6341AD-813D-403B-B28C-FC2FDD8E9DC4}" presName="space" presStyleCnt="0"/>
      <dgm:spPr/>
    </dgm:pt>
    <dgm:pt modelId="{706E0C14-F2A7-4DE4-9499-61AE2C5D0207}" type="pres">
      <dgm:prSet presAssocID="{EAB0C844-F51E-4DFB-A536-30F0D99FAE94}" presName="composite" presStyleCnt="0"/>
      <dgm:spPr/>
    </dgm:pt>
    <dgm:pt modelId="{1C853CF6-A2DE-4F68-B0C6-DBD247EBC401}" type="pres">
      <dgm:prSet presAssocID="{EAB0C844-F51E-4DFB-A536-30F0D99FAE94}" presName="LShape" presStyleLbl="alignNode1" presStyleIdx="2" presStyleCnt="5"/>
      <dgm:spPr/>
    </dgm:pt>
    <dgm:pt modelId="{C1AC4B57-78E1-4452-B0B0-2A3348BCDDA8}" type="pres">
      <dgm:prSet presAssocID="{EAB0C844-F51E-4DFB-A536-30F0D99FAE94}" presName="ParentText" presStyleLbl="revTx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FCDCFE56-9DF8-4EAE-B8C4-08AE46B264E1}" type="pres">
      <dgm:prSet presAssocID="{EAB0C844-F51E-4DFB-A536-30F0D99FAE94}" presName="Triangle" presStyleLbl="alignNode1" presStyleIdx="3" presStyleCnt="5"/>
      <dgm:spPr/>
    </dgm:pt>
    <dgm:pt modelId="{8DBF8C18-8808-4F1F-8991-2AAB693E943A}" type="pres">
      <dgm:prSet presAssocID="{0E651F1F-8BE4-454B-8DCC-99F0DB2A193B}" presName="sibTrans" presStyleCnt="0"/>
      <dgm:spPr/>
    </dgm:pt>
    <dgm:pt modelId="{73342AEE-6DAA-46D6-BC7F-B2C04B8A3345}" type="pres">
      <dgm:prSet presAssocID="{0E651F1F-8BE4-454B-8DCC-99F0DB2A193B}" presName="space" presStyleCnt="0"/>
      <dgm:spPr/>
    </dgm:pt>
    <dgm:pt modelId="{675EB8DD-BBAD-4197-A90B-57E6004F4686}" type="pres">
      <dgm:prSet presAssocID="{E8A4A52C-7F80-4B4D-9F05-C543F8BAE61E}" presName="composite" presStyleCnt="0"/>
      <dgm:spPr/>
    </dgm:pt>
    <dgm:pt modelId="{B35E1A11-0067-4EE4-9056-9235220E862F}" type="pres">
      <dgm:prSet presAssocID="{E8A4A52C-7F80-4B4D-9F05-C543F8BAE61E}" presName="LShape" presStyleLbl="alignNode1" presStyleIdx="4" presStyleCnt="5"/>
      <dgm:spPr/>
    </dgm:pt>
    <dgm:pt modelId="{663EBAAC-79EC-42DC-8063-6A9BDDB9D2E4}" type="pres">
      <dgm:prSet presAssocID="{E8A4A52C-7F80-4B4D-9F05-C543F8BAE61E}" presName="ParentText" presStyleLbl="revTx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473007DE-0D6C-4CBB-94D4-AED850ACD2CA}" type="presOf" srcId="{EAB0C844-F51E-4DFB-A536-30F0D99FAE94}" destId="{C1AC4B57-78E1-4452-B0B0-2A3348BCDDA8}" srcOrd="0" destOrd="0" presId="urn:microsoft.com/office/officeart/2009/3/layout/StepUpProcess#1"/>
    <dgm:cxn modelId="{BF87DAC2-DB12-49B8-BDE1-C604BEF8F18A}" type="presOf" srcId="{3B23CB4B-B708-41FC-AC7C-F015174B1E3D}" destId="{768212EE-A3B9-4148-8EB3-078C56607C6E}" srcOrd="0" destOrd="0" presId="urn:microsoft.com/office/officeart/2009/3/layout/StepUpProcess#1"/>
    <dgm:cxn modelId="{5CF580CC-DED7-421D-BDB8-4D462EACBE24}" srcId="{3B23CB4B-B708-41FC-AC7C-F015174B1E3D}" destId="{449A498D-B600-49BA-BF5E-458E71D1CB03}" srcOrd="0" destOrd="0" parTransId="{3B264FAB-331C-4B1C-B85A-E9853C9C7CDA}" sibTransId="{4E6341AD-813D-403B-B28C-FC2FDD8E9DC4}"/>
    <dgm:cxn modelId="{383F02E1-5E46-430E-A7E6-EFC1F639E9DB}" type="presOf" srcId="{449A498D-B600-49BA-BF5E-458E71D1CB03}" destId="{DE40858A-6F0E-48CD-B2DF-10B083C136CA}" srcOrd="0" destOrd="0" presId="urn:microsoft.com/office/officeart/2009/3/layout/StepUpProcess#1"/>
    <dgm:cxn modelId="{3D00C638-CF83-46F9-88EB-B3DA03184AD7}" type="presOf" srcId="{E8A4A52C-7F80-4B4D-9F05-C543F8BAE61E}" destId="{663EBAAC-79EC-42DC-8063-6A9BDDB9D2E4}" srcOrd="0" destOrd="0" presId="urn:microsoft.com/office/officeart/2009/3/layout/StepUpProcess#1"/>
    <dgm:cxn modelId="{64AD818D-B809-4490-8E65-E077EA5B1890}" srcId="{3B23CB4B-B708-41FC-AC7C-F015174B1E3D}" destId="{EAB0C844-F51E-4DFB-A536-30F0D99FAE94}" srcOrd="1" destOrd="0" parTransId="{95DC7677-5C08-4DA3-B454-9DAAE0224E24}" sibTransId="{0E651F1F-8BE4-454B-8DCC-99F0DB2A193B}"/>
    <dgm:cxn modelId="{1AC5652B-936A-452C-9AEB-E0AE9DC832AD}" srcId="{3B23CB4B-B708-41FC-AC7C-F015174B1E3D}" destId="{E8A4A52C-7F80-4B4D-9F05-C543F8BAE61E}" srcOrd="2" destOrd="0" parTransId="{6E7FB476-002B-4683-9F34-F77C46BB99C7}" sibTransId="{3ED9540D-AA1D-4A4C-8914-5607E79B5C13}"/>
    <dgm:cxn modelId="{CDD51770-B15D-451B-B6C3-21D98E4A8F7E}" type="presParOf" srcId="{768212EE-A3B9-4148-8EB3-078C56607C6E}" destId="{EF0D2E20-4F9C-4338-9EBD-522C70E13036}" srcOrd="0" destOrd="0" presId="urn:microsoft.com/office/officeart/2009/3/layout/StepUpProcess#1"/>
    <dgm:cxn modelId="{4DF93E74-28F8-427B-812B-EC2B420F40C0}" type="presParOf" srcId="{EF0D2E20-4F9C-4338-9EBD-522C70E13036}" destId="{A9FDE50D-9DE0-47E3-8EB5-D7FD878FCD9D}" srcOrd="0" destOrd="0" presId="urn:microsoft.com/office/officeart/2009/3/layout/StepUpProcess#1"/>
    <dgm:cxn modelId="{598E5231-D857-4B54-BAAA-FEF9C8EAFCD6}" type="presParOf" srcId="{EF0D2E20-4F9C-4338-9EBD-522C70E13036}" destId="{DE40858A-6F0E-48CD-B2DF-10B083C136CA}" srcOrd="1" destOrd="0" presId="urn:microsoft.com/office/officeart/2009/3/layout/StepUpProcess#1"/>
    <dgm:cxn modelId="{E83FC8DF-25EB-4140-88D6-624D3BFE1F65}" type="presParOf" srcId="{EF0D2E20-4F9C-4338-9EBD-522C70E13036}" destId="{32F0D408-E9D7-43D4-A668-9F774C73F08B}" srcOrd="2" destOrd="0" presId="urn:microsoft.com/office/officeart/2009/3/layout/StepUpProcess#1"/>
    <dgm:cxn modelId="{7CA61E79-8EC6-438E-9FAC-1ADDD4D32170}" type="presParOf" srcId="{768212EE-A3B9-4148-8EB3-078C56607C6E}" destId="{A2FFCBBF-CDDC-43F1-9D9E-50239E1B1002}" srcOrd="1" destOrd="0" presId="urn:microsoft.com/office/officeart/2009/3/layout/StepUpProcess#1"/>
    <dgm:cxn modelId="{17C02D06-BB91-4357-A890-D321FF3C0BCF}" type="presParOf" srcId="{A2FFCBBF-CDDC-43F1-9D9E-50239E1B1002}" destId="{C657872D-A27E-4ACE-BAEA-7D955E825446}" srcOrd="0" destOrd="0" presId="urn:microsoft.com/office/officeart/2009/3/layout/StepUpProcess#1"/>
    <dgm:cxn modelId="{BF3A645E-9AE1-4FDD-A23F-7B8B9D1005F4}" type="presParOf" srcId="{768212EE-A3B9-4148-8EB3-078C56607C6E}" destId="{706E0C14-F2A7-4DE4-9499-61AE2C5D0207}" srcOrd="2" destOrd="0" presId="urn:microsoft.com/office/officeart/2009/3/layout/StepUpProcess#1"/>
    <dgm:cxn modelId="{586FF20E-1192-47EA-9E33-37726CE845FD}" type="presParOf" srcId="{706E0C14-F2A7-4DE4-9499-61AE2C5D0207}" destId="{1C853CF6-A2DE-4F68-B0C6-DBD247EBC401}" srcOrd="0" destOrd="0" presId="urn:microsoft.com/office/officeart/2009/3/layout/StepUpProcess#1"/>
    <dgm:cxn modelId="{74D010DF-D86B-47BB-AC97-1EB8CA73A882}" type="presParOf" srcId="{706E0C14-F2A7-4DE4-9499-61AE2C5D0207}" destId="{C1AC4B57-78E1-4452-B0B0-2A3348BCDDA8}" srcOrd="1" destOrd="0" presId="urn:microsoft.com/office/officeart/2009/3/layout/StepUpProcess#1"/>
    <dgm:cxn modelId="{B585D437-715F-4809-A378-81FFBC1B6A99}" type="presParOf" srcId="{706E0C14-F2A7-4DE4-9499-61AE2C5D0207}" destId="{FCDCFE56-9DF8-4EAE-B8C4-08AE46B264E1}" srcOrd="2" destOrd="0" presId="urn:microsoft.com/office/officeart/2009/3/layout/StepUpProcess#1"/>
    <dgm:cxn modelId="{E8698382-63D2-4675-970C-E769824FA6E7}" type="presParOf" srcId="{768212EE-A3B9-4148-8EB3-078C56607C6E}" destId="{8DBF8C18-8808-4F1F-8991-2AAB693E943A}" srcOrd="3" destOrd="0" presId="urn:microsoft.com/office/officeart/2009/3/layout/StepUpProcess#1"/>
    <dgm:cxn modelId="{1AF7C54B-02A2-4065-947E-E5F488C5C935}" type="presParOf" srcId="{8DBF8C18-8808-4F1F-8991-2AAB693E943A}" destId="{73342AEE-6DAA-46D6-BC7F-B2C04B8A3345}" srcOrd="0" destOrd="0" presId="urn:microsoft.com/office/officeart/2009/3/layout/StepUpProcess#1"/>
    <dgm:cxn modelId="{BE1A1FF9-9DB7-4792-859C-B13A559594B5}" type="presParOf" srcId="{768212EE-A3B9-4148-8EB3-078C56607C6E}" destId="{675EB8DD-BBAD-4197-A90B-57E6004F4686}" srcOrd="4" destOrd="0" presId="urn:microsoft.com/office/officeart/2009/3/layout/StepUpProcess#1"/>
    <dgm:cxn modelId="{07E07E12-CC21-43AD-87EE-FA2F205108B9}" type="presParOf" srcId="{675EB8DD-BBAD-4197-A90B-57E6004F4686}" destId="{B35E1A11-0067-4EE4-9056-9235220E862F}" srcOrd="0" destOrd="0" presId="urn:microsoft.com/office/officeart/2009/3/layout/StepUpProcess#1"/>
    <dgm:cxn modelId="{4880BC47-D0E0-460D-801E-D71DBF9BCACF}" type="presParOf" srcId="{675EB8DD-BBAD-4197-A90B-57E6004F4686}" destId="{663EBAAC-79EC-42DC-8063-6A9BDDB9D2E4}" srcOrd="1" destOrd="0" presId="urn:microsoft.com/office/officeart/2009/3/layout/StepUpProcess#1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A341DE78-54B8-42FD-9FC2-32F0FDCB5CCC}" type="doc">
      <dgm:prSet loTypeId="urn:microsoft.com/office/officeart/2008/layout/VerticalCurvedList#1" loCatId="list" qsTypeId="urn:microsoft.com/office/officeart/2005/8/quickstyle/simple1#3" qsCatId="simple" csTypeId="urn:microsoft.com/office/officeart/2005/8/colors/colorful1#3" csCatId="colorful" phldr="1"/>
      <dgm:spPr/>
      <dgm:t>
        <a:bodyPr/>
        <a:lstStyle/>
        <a:p>
          <a:endParaRPr lang="es-ES"/>
        </a:p>
      </dgm:t>
    </dgm:pt>
    <dgm:pt modelId="{012F89CB-A0F3-48C2-8216-8661BE2A225B}">
      <dgm:prSet phldrT="[Texto]"/>
      <dgm:spPr/>
      <dgm:t>
        <a:bodyPr/>
        <a:lstStyle/>
        <a:p>
          <a:r>
            <a:rPr lang="es-ES" dirty="0" smtClean="0">
              <a:solidFill>
                <a:srgbClr val="002060"/>
              </a:solidFill>
            </a:rPr>
            <a:t>Organizar el monitoreo a los estudiantes.</a:t>
          </a:r>
          <a:endParaRPr lang="es-ES" dirty="0">
            <a:solidFill>
              <a:srgbClr val="002060"/>
            </a:solidFill>
          </a:endParaRPr>
        </a:p>
      </dgm:t>
    </dgm:pt>
    <dgm:pt modelId="{784A123D-BA2C-41C8-848F-8DD902E1D6CA}" type="parTrans" cxnId="{F86061E4-D649-404A-B426-AC1EB3C5BA46}">
      <dgm:prSet/>
      <dgm:spPr/>
      <dgm:t>
        <a:bodyPr/>
        <a:lstStyle/>
        <a:p>
          <a:endParaRPr lang="es-ES"/>
        </a:p>
      </dgm:t>
    </dgm:pt>
    <dgm:pt modelId="{9284B434-3D88-4995-8DFD-F01BA8619E67}" type="sibTrans" cxnId="{F86061E4-D649-404A-B426-AC1EB3C5BA46}">
      <dgm:prSet/>
      <dgm:spPr/>
      <dgm:t>
        <a:bodyPr/>
        <a:lstStyle/>
        <a:p>
          <a:endParaRPr lang="es-ES"/>
        </a:p>
      </dgm:t>
    </dgm:pt>
    <dgm:pt modelId="{67946B6B-9430-4957-927B-CA22458F6E01}">
      <dgm:prSet phldrT="[Texto]"/>
      <dgm:spPr/>
      <dgm:t>
        <a:bodyPr/>
        <a:lstStyle/>
        <a:p>
          <a:r>
            <a:rPr lang="es-ES" dirty="0" smtClean="0">
              <a:solidFill>
                <a:srgbClr val="002060"/>
              </a:solidFill>
            </a:rPr>
            <a:t>Escoger y explorar los aplicativos que van a usar para monitorear.</a:t>
          </a:r>
          <a:endParaRPr lang="es-ES" dirty="0">
            <a:solidFill>
              <a:srgbClr val="002060"/>
            </a:solidFill>
          </a:endParaRPr>
        </a:p>
      </dgm:t>
    </dgm:pt>
    <dgm:pt modelId="{84B61017-49AA-43DD-B148-B3AF73DC9EFE}" type="parTrans" cxnId="{EF07BAAF-741E-4262-93E5-A30022EC94ED}">
      <dgm:prSet/>
      <dgm:spPr/>
      <dgm:t>
        <a:bodyPr/>
        <a:lstStyle/>
        <a:p>
          <a:endParaRPr lang="es-ES"/>
        </a:p>
      </dgm:t>
    </dgm:pt>
    <dgm:pt modelId="{1F587416-5B1C-44FC-9887-FCC0BBACA3B3}" type="sibTrans" cxnId="{EF07BAAF-741E-4262-93E5-A30022EC94ED}">
      <dgm:prSet/>
      <dgm:spPr/>
      <dgm:t>
        <a:bodyPr/>
        <a:lstStyle/>
        <a:p>
          <a:endParaRPr lang="es-ES"/>
        </a:p>
      </dgm:t>
    </dgm:pt>
    <dgm:pt modelId="{2E8AF427-379A-46D9-A857-A833FFF55161}">
      <dgm:prSet phldrT="[Texto]"/>
      <dgm:spPr/>
      <dgm:t>
        <a:bodyPr/>
        <a:lstStyle/>
        <a:p>
          <a:r>
            <a:rPr lang="es-ES" dirty="0" smtClean="0">
              <a:solidFill>
                <a:srgbClr val="FFFF00"/>
              </a:solidFill>
            </a:rPr>
            <a:t>Escuchar, evaluar y retroalimentar de manera formativa.</a:t>
          </a:r>
          <a:endParaRPr lang="es-ES" dirty="0">
            <a:solidFill>
              <a:srgbClr val="FFFF00"/>
            </a:solidFill>
          </a:endParaRPr>
        </a:p>
      </dgm:t>
    </dgm:pt>
    <dgm:pt modelId="{1D874C89-DD57-4CDE-B8A5-7B9D1257F434}" type="parTrans" cxnId="{F10AD92F-CC4B-4CD0-8A85-DA94EA1E4629}">
      <dgm:prSet/>
      <dgm:spPr/>
      <dgm:t>
        <a:bodyPr/>
        <a:lstStyle/>
        <a:p>
          <a:endParaRPr lang="es-ES"/>
        </a:p>
      </dgm:t>
    </dgm:pt>
    <dgm:pt modelId="{ECC27067-E31C-40BF-9D99-36A8A6825A6D}" type="sibTrans" cxnId="{F10AD92F-CC4B-4CD0-8A85-DA94EA1E4629}">
      <dgm:prSet/>
      <dgm:spPr/>
      <dgm:t>
        <a:bodyPr/>
        <a:lstStyle/>
        <a:p>
          <a:endParaRPr lang="es-ES"/>
        </a:p>
      </dgm:t>
    </dgm:pt>
    <dgm:pt modelId="{045AF804-1C7D-40B2-86E2-E19BB7417967}">
      <dgm:prSet/>
      <dgm:spPr/>
      <dgm:t>
        <a:bodyPr/>
        <a:lstStyle/>
        <a:p>
          <a:r>
            <a:rPr lang="es-ES" dirty="0" smtClean="0">
              <a:solidFill>
                <a:srgbClr val="FFFF00"/>
              </a:solidFill>
            </a:rPr>
            <a:t>Fomentar entre los estudiantes el uso del portafolio.</a:t>
          </a:r>
          <a:endParaRPr lang="es-ES" dirty="0">
            <a:solidFill>
              <a:srgbClr val="FFFF00"/>
            </a:solidFill>
          </a:endParaRPr>
        </a:p>
      </dgm:t>
    </dgm:pt>
    <dgm:pt modelId="{1556F8DC-38E8-4A09-ABE5-06E90B6714F9}" type="parTrans" cxnId="{31936A12-9373-4CC8-92DD-7BC9FF1671C2}">
      <dgm:prSet/>
      <dgm:spPr/>
      <dgm:t>
        <a:bodyPr/>
        <a:lstStyle/>
        <a:p>
          <a:endParaRPr lang="es-ES"/>
        </a:p>
      </dgm:t>
    </dgm:pt>
    <dgm:pt modelId="{732CC3EA-80FE-4A37-A289-4B0DE648A0ED}" type="sibTrans" cxnId="{31936A12-9373-4CC8-92DD-7BC9FF1671C2}">
      <dgm:prSet/>
      <dgm:spPr/>
      <dgm:t>
        <a:bodyPr/>
        <a:lstStyle/>
        <a:p>
          <a:endParaRPr lang="es-ES"/>
        </a:p>
      </dgm:t>
    </dgm:pt>
    <dgm:pt modelId="{84DCECBE-58EE-4E0E-921E-8AAAB2330AA0}" type="pres">
      <dgm:prSet presAssocID="{A341DE78-54B8-42FD-9FC2-32F0FDCB5CCC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s-ES"/>
        </a:p>
      </dgm:t>
    </dgm:pt>
    <dgm:pt modelId="{2BAD844F-6508-4CA7-9797-8E22EF91EE32}" type="pres">
      <dgm:prSet presAssocID="{A341DE78-54B8-42FD-9FC2-32F0FDCB5CCC}" presName="Name1" presStyleCnt="0"/>
      <dgm:spPr/>
    </dgm:pt>
    <dgm:pt modelId="{A52E9D94-0D6F-443E-A0B0-1314DEDE4434}" type="pres">
      <dgm:prSet presAssocID="{A341DE78-54B8-42FD-9FC2-32F0FDCB5CCC}" presName="cycle" presStyleCnt="0"/>
      <dgm:spPr/>
    </dgm:pt>
    <dgm:pt modelId="{37464834-7F31-4671-B6DF-87A55AE3C368}" type="pres">
      <dgm:prSet presAssocID="{A341DE78-54B8-42FD-9FC2-32F0FDCB5CCC}" presName="srcNode" presStyleLbl="node1" presStyleIdx="0" presStyleCnt="4"/>
      <dgm:spPr/>
    </dgm:pt>
    <dgm:pt modelId="{62BA1D37-4758-4BB3-AEE6-420F7D02B8B0}" type="pres">
      <dgm:prSet presAssocID="{A341DE78-54B8-42FD-9FC2-32F0FDCB5CCC}" presName="conn" presStyleLbl="parChTrans1D2" presStyleIdx="0" presStyleCnt="1"/>
      <dgm:spPr/>
      <dgm:t>
        <a:bodyPr/>
        <a:lstStyle/>
        <a:p>
          <a:endParaRPr lang="es-ES"/>
        </a:p>
      </dgm:t>
    </dgm:pt>
    <dgm:pt modelId="{7271D154-002D-40AB-B10B-89605709AA75}" type="pres">
      <dgm:prSet presAssocID="{A341DE78-54B8-42FD-9FC2-32F0FDCB5CCC}" presName="extraNode" presStyleLbl="node1" presStyleIdx="0" presStyleCnt="4"/>
      <dgm:spPr/>
    </dgm:pt>
    <dgm:pt modelId="{A2D903C4-71D0-4453-BB10-C0EB1013025E}" type="pres">
      <dgm:prSet presAssocID="{A341DE78-54B8-42FD-9FC2-32F0FDCB5CCC}" presName="dstNode" presStyleLbl="node1" presStyleIdx="0" presStyleCnt="4"/>
      <dgm:spPr/>
    </dgm:pt>
    <dgm:pt modelId="{102B67A1-6732-4E66-AC1C-33D42B81D4F8}" type="pres">
      <dgm:prSet presAssocID="{012F89CB-A0F3-48C2-8216-8661BE2A225B}" presName="text_1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79A1E890-F512-4DF9-912C-98CA547C8E3C}" type="pres">
      <dgm:prSet presAssocID="{012F89CB-A0F3-48C2-8216-8661BE2A225B}" presName="accent_1" presStyleCnt="0"/>
      <dgm:spPr/>
    </dgm:pt>
    <dgm:pt modelId="{52FD2097-3E44-495B-9B92-4A88952DBEB6}" type="pres">
      <dgm:prSet presAssocID="{012F89CB-A0F3-48C2-8216-8661BE2A225B}" presName="accentRepeatNode" presStyleLbl="solidFgAcc1" presStyleIdx="0" presStyleCnt="4"/>
      <dgm:spPr/>
    </dgm:pt>
    <dgm:pt modelId="{7AF9817B-25FB-41DC-A3C4-B0403299EF42}" type="pres">
      <dgm:prSet presAssocID="{045AF804-1C7D-40B2-86E2-E19BB7417967}" presName="text_2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61A3C8D1-7B5D-4349-8F1B-5350D248D9A6}" type="pres">
      <dgm:prSet presAssocID="{045AF804-1C7D-40B2-86E2-E19BB7417967}" presName="accent_2" presStyleCnt="0"/>
      <dgm:spPr/>
    </dgm:pt>
    <dgm:pt modelId="{B669A32A-3AEC-4B79-929E-CBB276A36F94}" type="pres">
      <dgm:prSet presAssocID="{045AF804-1C7D-40B2-86E2-E19BB7417967}" presName="accentRepeatNode" presStyleLbl="solidFgAcc1" presStyleIdx="1" presStyleCnt="4" custLinFactNeighborX="-820" custLinFactNeighborY="-1471"/>
      <dgm:spPr/>
    </dgm:pt>
    <dgm:pt modelId="{4FA833B8-A250-4AD8-9A43-DA766850FDDC}" type="pres">
      <dgm:prSet presAssocID="{67946B6B-9430-4957-927B-CA22458F6E01}" presName="text_3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A7B6A47A-D018-4692-9339-2F6D79D377F7}" type="pres">
      <dgm:prSet presAssocID="{67946B6B-9430-4957-927B-CA22458F6E01}" presName="accent_3" presStyleCnt="0"/>
      <dgm:spPr/>
    </dgm:pt>
    <dgm:pt modelId="{3B8DE413-9151-4D78-8FBC-151536B5CAB3}" type="pres">
      <dgm:prSet presAssocID="{67946B6B-9430-4957-927B-CA22458F6E01}" presName="accentRepeatNode" presStyleLbl="solidFgAcc1" presStyleIdx="2" presStyleCnt="4"/>
      <dgm:spPr/>
    </dgm:pt>
    <dgm:pt modelId="{7A1BBDE3-EE17-4969-AF26-2F44574D7548}" type="pres">
      <dgm:prSet presAssocID="{2E8AF427-379A-46D9-A857-A833FFF55161}" presName="text_4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D851F4E3-43B5-45B3-A98B-611D0C1BBA81}" type="pres">
      <dgm:prSet presAssocID="{2E8AF427-379A-46D9-A857-A833FFF55161}" presName="accent_4" presStyleCnt="0"/>
      <dgm:spPr/>
    </dgm:pt>
    <dgm:pt modelId="{4A4E8804-9C93-41AA-A776-59BF815907A4}" type="pres">
      <dgm:prSet presAssocID="{2E8AF427-379A-46D9-A857-A833FFF55161}" presName="accentRepeatNode" presStyleLbl="solidFgAcc1" presStyleIdx="3" presStyleCnt="4"/>
      <dgm:spPr/>
    </dgm:pt>
  </dgm:ptLst>
  <dgm:cxnLst>
    <dgm:cxn modelId="{31936A12-9373-4CC8-92DD-7BC9FF1671C2}" srcId="{A341DE78-54B8-42FD-9FC2-32F0FDCB5CCC}" destId="{045AF804-1C7D-40B2-86E2-E19BB7417967}" srcOrd="1" destOrd="0" parTransId="{1556F8DC-38E8-4A09-ABE5-06E90B6714F9}" sibTransId="{732CC3EA-80FE-4A37-A289-4B0DE648A0ED}"/>
    <dgm:cxn modelId="{F10AD92F-CC4B-4CD0-8A85-DA94EA1E4629}" srcId="{A341DE78-54B8-42FD-9FC2-32F0FDCB5CCC}" destId="{2E8AF427-379A-46D9-A857-A833FFF55161}" srcOrd="3" destOrd="0" parTransId="{1D874C89-DD57-4CDE-B8A5-7B9D1257F434}" sibTransId="{ECC27067-E31C-40BF-9D99-36A8A6825A6D}"/>
    <dgm:cxn modelId="{D64120C2-05EC-40AC-8D48-051D33DD5602}" type="presOf" srcId="{012F89CB-A0F3-48C2-8216-8661BE2A225B}" destId="{102B67A1-6732-4E66-AC1C-33D42B81D4F8}" srcOrd="0" destOrd="0" presId="urn:microsoft.com/office/officeart/2008/layout/VerticalCurvedList#1"/>
    <dgm:cxn modelId="{1DE65E71-68AF-4AB5-9303-F5A2D9FE624F}" type="presOf" srcId="{A341DE78-54B8-42FD-9FC2-32F0FDCB5CCC}" destId="{84DCECBE-58EE-4E0E-921E-8AAAB2330AA0}" srcOrd="0" destOrd="0" presId="urn:microsoft.com/office/officeart/2008/layout/VerticalCurvedList#1"/>
    <dgm:cxn modelId="{819672CB-372C-48B6-839C-25CA5C4D197D}" type="presOf" srcId="{67946B6B-9430-4957-927B-CA22458F6E01}" destId="{4FA833B8-A250-4AD8-9A43-DA766850FDDC}" srcOrd="0" destOrd="0" presId="urn:microsoft.com/office/officeart/2008/layout/VerticalCurvedList#1"/>
    <dgm:cxn modelId="{08063E60-243C-425F-9299-1B2222EAC0E3}" type="presOf" srcId="{9284B434-3D88-4995-8DFD-F01BA8619E67}" destId="{62BA1D37-4758-4BB3-AEE6-420F7D02B8B0}" srcOrd="0" destOrd="0" presId="urn:microsoft.com/office/officeart/2008/layout/VerticalCurvedList#1"/>
    <dgm:cxn modelId="{F86061E4-D649-404A-B426-AC1EB3C5BA46}" srcId="{A341DE78-54B8-42FD-9FC2-32F0FDCB5CCC}" destId="{012F89CB-A0F3-48C2-8216-8661BE2A225B}" srcOrd="0" destOrd="0" parTransId="{784A123D-BA2C-41C8-848F-8DD902E1D6CA}" sibTransId="{9284B434-3D88-4995-8DFD-F01BA8619E67}"/>
    <dgm:cxn modelId="{EF07BAAF-741E-4262-93E5-A30022EC94ED}" srcId="{A341DE78-54B8-42FD-9FC2-32F0FDCB5CCC}" destId="{67946B6B-9430-4957-927B-CA22458F6E01}" srcOrd="2" destOrd="0" parTransId="{84B61017-49AA-43DD-B148-B3AF73DC9EFE}" sibTransId="{1F587416-5B1C-44FC-9887-FCC0BBACA3B3}"/>
    <dgm:cxn modelId="{C7CC4D13-E98E-4320-8B78-4658019CE626}" type="presOf" srcId="{2E8AF427-379A-46D9-A857-A833FFF55161}" destId="{7A1BBDE3-EE17-4969-AF26-2F44574D7548}" srcOrd="0" destOrd="0" presId="urn:microsoft.com/office/officeart/2008/layout/VerticalCurvedList#1"/>
    <dgm:cxn modelId="{4B372A21-222C-4AD2-AA92-80A8F74E0D6A}" type="presOf" srcId="{045AF804-1C7D-40B2-86E2-E19BB7417967}" destId="{7AF9817B-25FB-41DC-A3C4-B0403299EF42}" srcOrd="0" destOrd="0" presId="urn:microsoft.com/office/officeart/2008/layout/VerticalCurvedList#1"/>
    <dgm:cxn modelId="{AFFC4CA6-5D07-4041-AA86-36CA59D3403E}" type="presParOf" srcId="{84DCECBE-58EE-4E0E-921E-8AAAB2330AA0}" destId="{2BAD844F-6508-4CA7-9797-8E22EF91EE32}" srcOrd="0" destOrd="0" presId="urn:microsoft.com/office/officeart/2008/layout/VerticalCurvedList#1"/>
    <dgm:cxn modelId="{EDDEABFD-96E0-4438-A7BC-08D50441B514}" type="presParOf" srcId="{2BAD844F-6508-4CA7-9797-8E22EF91EE32}" destId="{A52E9D94-0D6F-443E-A0B0-1314DEDE4434}" srcOrd="0" destOrd="0" presId="urn:microsoft.com/office/officeart/2008/layout/VerticalCurvedList#1"/>
    <dgm:cxn modelId="{F922C43D-24E4-4679-B567-E190966165E7}" type="presParOf" srcId="{A52E9D94-0D6F-443E-A0B0-1314DEDE4434}" destId="{37464834-7F31-4671-B6DF-87A55AE3C368}" srcOrd="0" destOrd="0" presId="urn:microsoft.com/office/officeart/2008/layout/VerticalCurvedList#1"/>
    <dgm:cxn modelId="{325FA71B-2A60-4F4D-8468-EC2B4CFF8DBB}" type="presParOf" srcId="{A52E9D94-0D6F-443E-A0B0-1314DEDE4434}" destId="{62BA1D37-4758-4BB3-AEE6-420F7D02B8B0}" srcOrd="1" destOrd="0" presId="urn:microsoft.com/office/officeart/2008/layout/VerticalCurvedList#1"/>
    <dgm:cxn modelId="{806D8739-90A8-4F9D-8EF1-96DF2F0EAC4D}" type="presParOf" srcId="{A52E9D94-0D6F-443E-A0B0-1314DEDE4434}" destId="{7271D154-002D-40AB-B10B-89605709AA75}" srcOrd="2" destOrd="0" presId="urn:microsoft.com/office/officeart/2008/layout/VerticalCurvedList#1"/>
    <dgm:cxn modelId="{3043DD20-FB77-4191-B454-EB50BE86CB0F}" type="presParOf" srcId="{A52E9D94-0D6F-443E-A0B0-1314DEDE4434}" destId="{A2D903C4-71D0-4453-BB10-C0EB1013025E}" srcOrd="3" destOrd="0" presId="urn:microsoft.com/office/officeart/2008/layout/VerticalCurvedList#1"/>
    <dgm:cxn modelId="{59292DCA-5994-4856-BE23-4B39E6240CC7}" type="presParOf" srcId="{2BAD844F-6508-4CA7-9797-8E22EF91EE32}" destId="{102B67A1-6732-4E66-AC1C-33D42B81D4F8}" srcOrd="1" destOrd="0" presId="urn:microsoft.com/office/officeart/2008/layout/VerticalCurvedList#1"/>
    <dgm:cxn modelId="{CF36A144-580F-4117-A6EF-78DB00A29957}" type="presParOf" srcId="{2BAD844F-6508-4CA7-9797-8E22EF91EE32}" destId="{79A1E890-F512-4DF9-912C-98CA547C8E3C}" srcOrd="2" destOrd="0" presId="urn:microsoft.com/office/officeart/2008/layout/VerticalCurvedList#1"/>
    <dgm:cxn modelId="{54B5011D-72CF-4EF4-A4E7-3BC0761D9F23}" type="presParOf" srcId="{79A1E890-F512-4DF9-912C-98CA547C8E3C}" destId="{52FD2097-3E44-495B-9B92-4A88952DBEB6}" srcOrd="0" destOrd="0" presId="urn:microsoft.com/office/officeart/2008/layout/VerticalCurvedList#1"/>
    <dgm:cxn modelId="{AA522D19-318B-4DA7-B770-5BBDF7249204}" type="presParOf" srcId="{2BAD844F-6508-4CA7-9797-8E22EF91EE32}" destId="{7AF9817B-25FB-41DC-A3C4-B0403299EF42}" srcOrd="3" destOrd="0" presId="urn:microsoft.com/office/officeart/2008/layout/VerticalCurvedList#1"/>
    <dgm:cxn modelId="{0CB1D2BD-1EC9-4E06-BCC9-FB6387004039}" type="presParOf" srcId="{2BAD844F-6508-4CA7-9797-8E22EF91EE32}" destId="{61A3C8D1-7B5D-4349-8F1B-5350D248D9A6}" srcOrd="4" destOrd="0" presId="urn:microsoft.com/office/officeart/2008/layout/VerticalCurvedList#1"/>
    <dgm:cxn modelId="{DB21DFCB-1B80-41A4-988B-AC737345C7B8}" type="presParOf" srcId="{61A3C8D1-7B5D-4349-8F1B-5350D248D9A6}" destId="{B669A32A-3AEC-4B79-929E-CBB276A36F94}" srcOrd="0" destOrd="0" presId="urn:microsoft.com/office/officeart/2008/layout/VerticalCurvedList#1"/>
    <dgm:cxn modelId="{B8FED4CF-D150-4AE9-A555-802E399BE71C}" type="presParOf" srcId="{2BAD844F-6508-4CA7-9797-8E22EF91EE32}" destId="{4FA833B8-A250-4AD8-9A43-DA766850FDDC}" srcOrd="5" destOrd="0" presId="urn:microsoft.com/office/officeart/2008/layout/VerticalCurvedList#1"/>
    <dgm:cxn modelId="{B646E8D7-04E5-488A-A390-65B154EE2323}" type="presParOf" srcId="{2BAD844F-6508-4CA7-9797-8E22EF91EE32}" destId="{A7B6A47A-D018-4692-9339-2F6D79D377F7}" srcOrd="6" destOrd="0" presId="urn:microsoft.com/office/officeart/2008/layout/VerticalCurvedList#1"/>
    <dgm:cxn modelId="{C9C68317-79D8-460C-B41A-7BBA5F9D26EA}" type="presParOf" srcId="{A7B6A47A-D018-4692-9339-2F6D79D377F7}" destId="{3B8DE413-9151-4D78-8FBC-151536B5CAB3}" srcOrd="0" destOrd="0" presId="urn:microsoft.com/office/officeart/2008/layout/VerticalCurvedList#1"/>
    <dgm:cxn modelId="{C8AD3C00-86F7-4BB2-91A6-A62E52DC0187}" type="presParOf" srcId="{2BAD844F-6508-4CA7-9797-8E22EF91EE32}" destId="{7A1BBDE3-EE17-4969-AF26-2F44574D7548}" srcOrd="7" destOrd="0" presId="urn:microsoft.com/office/officeart/2008/layout/VerticalCurvedList#1"/>
    <dgm:cxn modelId="{D12F913D-EC6D-4D51-85B9-C9AC6C732AAD}" type="presParOf" srcId="{2BAD844F-6508-4CA7-9797-8E22EF91EE32}" destId="{D851F4E3-43B5-45B3-A98B-611D0C1BBA81}" srcOrd="8" destOrd="0" presId="urn:microsoft.com/office/officeart/2008/layout/VerticalCurvedList#1"/>
    <dgm:cxn modelId="{178C94E6-DE31-4091-AAC9-AB0341F7B74C}" type="presParOf" srcId="{D851F4E3-43B5-45B3-A98B-611D0C1BBA81}" destId="{4A4E8804-9C93-41AA-A776-59BF815907A4}" srcOrd="0" destOrd="0" presId="urn:microsoft.com/office/officeart/2008/layout/VerticalCurvedList#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A4C6BB8E-5D12-47EE-9532-EF0B078BFEFF}" type="doc">
      <dgm:prSet loTypeId="urn:microsoft.com/office/officeart/2005/8/layout/arrow2#1" loCatId="process" qsTypeId="urn:microsoft.com/office/officeart/2005/8/quickstyle/simple1#4" qsCatId="simple" csTypeId="urn:microsoft.com/office/officeart/2005/8/colors/accent1_2#1" csCatId="accent1" phldr="1"/>
      <dgm:spPr/>
      <dgm:t>
        <a:bodyPr/>
        <a:lstStyle/>
        <a:p>
          <a:endParaRPr lang="es-ES"/>
        </a:p>
      </dgm:t>
    </dgm:pt>
    <dgm:pt modelId="{3E05C12E-0F27-49F3-9848-A81D3B64186F}">
      <dgm:prSet phldrT="[Texto]" phldr="0" custT="0"/>
      <dgm:spPr/>
      <dgm:t>
        <a:bodyPr vert="horz" wrap="square"/>
        <a:lstStyle/>
        <a:p>
          <a:pPr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s-ES" dirty="0" smtClean="0"/>
            <a:t>Cla</a:t>
          </a:r>
          <a:r>
            <a:rPr lang="es-PE" altLang="es-ES" dirty="0" smtClean="0"/>
            <a:t>r</a:t>
          </a:r>
          <a:r>
            <a:rPr lang="es-ES" dirty="0" smtClean="0"/>
            <a:t>ificar</a:t>
          </a:r>
          <a:endParaRPr lang="es-ES" dirty="0"/>
        </a:p>
      </dgm:t>
    </dgm:pt>
    <dgm:pt modelId="{00C1DDB4-8D5C-4D46-BAA6-F4FAEAC4B4FC}" type="parTrans" cxnId="{DC213F4D-F7AB-4262-878C-631D858F2B74}">
      <dgm:prSet/>
      <dgm:spPr/>
      <dgm:t>
        <a:bodyPr/>
        <a:lstStyle/>
        <a:p>
          <a:endParaRPr lang="es-ES"/>
        </a:p>
      </dgm:t>
    </dgm:pt>
    <dgm:pt modelId="{6D3A2517-A023-403A-86A7-A3F919AF2B38}" type="sibTrans" cxnId="{DC213F4D-F7AB-4262-878C-631D858F2B74}">
      <dgm:prSet/>
      <dgm:spPr/>
      <dgm:t>
        <a:bodyPr/>
        <a:lstStyle/>
        <a:p>
          <a:endParaRPr lang="es-ES"/>
        </a:p>
      </dgm:t>
    </dgm:pt>
    <dgm:pt modelId="{C4D3D8BD-285E-4F18-883A-15EC24F3773C}">
      <dgm:prSet/>
      <dgm:spPr/>
      <dgm:t>
        <a:bodyPr/>
        <a:lstStyle/>
        <a:p>
          <a:r>
            <a:rPr lang="es-ES" dirty="0" smtClean="0"/>
            <a:t>Expresar inquietudes</a:t>
          </a:r>
          <a:endParaRPr lang="es-ES" dirty="0"/>
        </a:p>
      </dgm:t>
    </dgm:pt>
    <dgm:pt modelId="{065DB2C7-75DB-4BE4-9EDE-7AA972A0EFF5}" type="parTrans" cxnId="{4A976637-728F-489E-90FF-E4A7CA0BCEFC}">
      <dgm:prSet/>
      <dgm:spPr/>
      <dgm:t>
        <a:bodyPr/>
        <a:lstStyle/>
        <a:p>
          <a:endParaRPr lang="es-ES"/>
        </a:p>
      </dgm:t>
    </dgm:pt>
    <dgm:pt modelId="{81DF9C76-F0CE-454E-9505-6791D73B0E2B}" type="sibTrans" cxnId="{4A976637-728F-489E-90FF-E4A7CA0BCEFC}">
      <dgm:prSet/>
      <dgm:spPr/>
      <dgm:t>
        <a:bodyPr/>
        <a:lstStyle/>
        <a:p>
          <a:endParaRPr lang="es-ES"/>
        </a:p>
      </dgm:t>
    </dgm:pt>
    <dgm:pt modelId="{F4BD855E-6EE5-4C4E-9E34-1CEE32AE746F}">
      <dgm:prSet phldrT="[Texto]"/>
      <dgm:spPr/>
      <dgm:t>
        <a:bodyPr/>
        <a:lstStyle/>
        <a:p>
          <a:r>
            <a:rPr lang="es-ES" dirty="0" smtClean="0"/>
            <a:t>Valorar</a:t>
          </a:r>
          <a:endParaRPr lang="es-ES" dirty="0"/>
        </a:p>
      </dgm:t>
    </dgm:pt>
    <dgm:pt modelId="{2AE1C274-3DE6-46FD-A8A0-3617B00CF07C}" type="parTrans" cxnId="{E2EDE305-30E3-4915-B160-D8281DF01EF9}">
      <dgm:prSet/>
      <dgm:spPr/>
      <dgm:t>
        <a:bodyPr/>
        <a:lstStyle/>
        <a:p>
          <a:endParaRPr lang="es-ES"/>
        </a:p>
      </dgm:t>
    </dgm:pt>
    <dgm:pt modelId="{ACA24B6B-DCEB-4EF2-8131-45DA42B430D9}" type="sibTrans" cxnId="{E2EDE305-30E3-4915-B160-D8281DF01EF9}">
      <dgm:prSet/>
      <dgm:spPr/>
      <dgm:t>
        <a:bodyPr/>
        <a:lstStyle/>
        <a:p>
          <a:endParaRPr lang="es-ES"/>
        </a:p>
      </dgm:t>
    </dgm:pt>
    <dgm:pt modelId="{64039105-ED56-43F8-AD37-7BFBF9F15E10}">
      <dgm:prSet phldrT="[Texto]"/>
      <dgm:spPr/>
      <dgm:t>
        <a:bodyPr/>
        <a:lstStyle/>
        <a:p>
          <a:r>
            <a:rPr lang="es-ES" dirty="0" smtClean="0"/>
            <a:t>Hacer sugerencia</a:t>
          </a:r>
          <a:endParaRPr lang="es-ES" dirty="0"/>
        </a:p>
      </dgm:t>
    </dgm:pt>
    <dgm:pt modelId="{4CA531E5-761A-46A0-8420-90582C03053F}" type="parTrans" cxnId="{1271A745-0CE9-49D3-A119-D14BB81592A8}">
      <dgm:prSet/>
      <dgm:spPr/>
      <dgm:t>
        <a:bodyPr/>
        <a:lstStyle/>
        <a:p>
          <a:endParaRPr lang="es-ES"/>
        </a:p>
      </dgm:t>
    </dgm:pt>
    <dgm:pt modelId="{C439A187-A8C9-446B-902C-99115D64961D}" type="sibTrans" cxnId="{1271A745-0CE9-49D3-A119-D14BB81592A8}">
      <dgm:prSet/>
      <dgm:spPr/>
      <dgm:t>
        <a:bodyPr/>
        <a:lstStyle/>
        <a:p>
          <a:endParaRPr lang="es-ES"/>
        </a:p>
      </dgm:t>
    </dgm:pt>
    <dgm:pt modelId="{54196F62-8459-43C6-98E9-6AA3D05FF621}" type="pres">
      <dgm:prSet presAssocID="{A4C6BB8E-5D12-47EE-9532-EF0B078BFEFF}" presName="arrowDiagram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85928A6C-917C-4422-8B0C-B384910AB9BE}" type="pres">
      <dgm:prSet presAssocID="{A4C6BB8E-5D12-47EE-9532-EF0B078BFEFF}" presName="arrow" presStyleLbl="bgShp" presStyleIdx="0" presStyleCnt="1"/>
      <dgm:spPr>
        <a:solidFill>
          <a:srgbClr val="FFFF00"/>
        </a:solidFill>
      </dgm:spPr>
    </dgm:pt>
    <dgm:pt modelId="{CBA04E07-074E-498E-A80E-F06E353AD525}" type="pres">
      <dgm:prSet presAssocID="{A4C6BB8E-5D12-47EE-9532-EF0B078BFEFF}" presName="arrowDiagram4" presStyleCnt="0"/>
      <dgm:spPr/>
    </dgm:pt>
    <dgm:pt modelId="{BDA778E0-914A-4014-A757-C161C4F12353}" type="pres">
      <dgm:prSet presAssocID="{3E05C12E-0F27-49F3-9848-A81D3B64186F}" presName="bullet4a" presStyleLbl="node1" presStyleIdx="0" presStyleCnt="4"/>
      <dgm:spPr/>
    </dgm:pt>
    <dgm:pt modelId="{C6BC585F-842E-44EB-981C-8F0C5A17426C}" type="pres">
      <dgm:prSet presAssocID="{3E05C12E-0F27-49F3-9848-A81D3B64186F}" presName="textBox4a" presStyleLbl="revTx" presStyleIdx="0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42B61A1A-7B2A-46FF-982C-96AF72E27836}" type="pres">
      <dgm:prSet presAssocID="{C4D3D8BD-285E-4F18-883A-15EC24F3773C}" presName="bullet4b" presStyleLbl="node1" presStyleIdx="1" presStyleCnt="4"/>
      <dgm:spPr/>
    </dgm:pt>
    <dgm:pt modelId="{2A5DB67D-7F34-4B8D-B4A5-CDF7CC9F7D24}" type="pres">
      <dgm:prSet presAssocID="{C4D3D8BD-285E-4F18-883A-15EC24F3773C}" presName="textBox4b" presStyleLbl="revTx" presStyleIdx="1" presStyleCnt="4" custLinFactX="16561" custLinFactNeighborX="100000" custLinFactNeighborY="-3179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6D2946AD-7A2E-4586-B41B-7ED1FF4C11BD}" type="pres">
      <dgm:prSet presAssocID="{F4BD855E-6EE5-4C4E-9E34-1CEE32AE746F}" presName="bullet4c" presStyleLbl="node1" presStyleIdx="2" presStyleCnt="4" custLinFactNeighborX="5529" custLinFactNeighborY="-5741"/>
      <dgm:spPr/>
    </dgm:pt>
    <dgm:pt modelId="{86C7210D-AD82-4B1A-B48E-C14612387AEF}" type="pres">
      <dgm:prSet presAssocID="{F4BD855E-6EE5-4C4E-9E34-1CEE32AE746F}" presName="textBox4c" presStyleLbl="revTx" presStyleIdx="2" presStyleCnt="4" custScaleX="82266" custScaleY="51099" custLinFactX="-4420" custLinFactNeighborX="-100000" custLinFactNeighborY="13798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94A5E327-9756-407D-A884-C3DD31453411}" type="pres">
      <dgm:prSet presAssocID="{64039105-ED56-43F8-AD37-7BFBF9F15E10}" presName="bullet4d" presStyleLbl="node1" presStyleIdx="3" presStyleCnt="4"/>
      <dgm:spPr/>
    </dgm:pt>
    <dgm:pt modelId="{8190918A-6806-4110-95E3-94A3A1252364}" type="pres">
      <dgm:prSet presAssocID="{64039105-ED56-43F8-AD37-7BFBF9F15E10}" presName="textBox4d" presStyleLbl="revTx" presStyleIdx="3" presStyleCnt="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1271A745-0CE9-49D3-A119-D14BB81592A8}" srcId="{A4C6BB8E-5D12-47EE-9532-EF0B078BFEFF}" destId="{64039105-ED56-43F8-AD37-7BFBF9F15E10}" srcOrd="3" destOrd="0" parTransId="{4CA531E5-761A-46A0-8420-90582C03053F}" sibTransId="{C439A187-A8C9-446B-902C-99115D64961D}"/>
    <dgm:cxn modelId="{DC213F4D-F7AB-4262-878C-631D858F2B74}" srcId="{A4C6BB8E-5D12-47EE-9532-EF0B078BFEFF}" destId="{3E05C12E-0F27-49F3-9848-A81D3B64186F}" srcOrd="0" destOrd="0" parTransId="{00C1DDB4-8D5C-4D46-BAA6-F4FAEAC4B4FC}" sibTransId="{6D3A2517-A023-403A-86A7-A3F919AF2B38}"/>
    <dgm:cxn modelId="{98453C4C-30DA-4C2F-8759-F9AC0838A67B}" type="presOf" srcId="{3E05C12E-0F27-49F3-9848-A81D3B64186F}" destId="{C6BC585F-842E-44EB-981C-8F0C5A17426C}" srcOrd="0" destOrd="0" presId="urn:microsoft.com/office/officeart/2005/8/layout/arrow2#1"/>
    <dgm:cxn modelId="{E2EDE305-30E3-4915-B160-D8281DF01EF9}" srcId="{A4C6BB8E-5D12-47EE-9532-EF0B078BFEFF}" destId="{F4BD855E-6EE5-4C4E-9E34-1CEE32AE746F}" srcOrd="2" destOrd="0" parTransId="{2AE1C274-3DE6-46FD-A8A0-3617B00CF07C}" sibTransId="{ACA24B6B-DCEB-4EF2-8131-45DA42B430D9}"/>
    <dgm:cxn modelId="{26A6DD16-CF4A-458A-87F2-9263E266AD4F}" type="presOf" srcId="{64039105-ED56-43F8-AD37-7BFBF9F15E10}" destId="{8190918A-6806-4110-95E3-94A3A1252364}" srcOrd="0" destOrd="0" presId="urn:microsoft.com/office/officeart/2005/8/layout/arrow2#1"/>
    <dgm:cxn modelId="{DE80FE50-843F-4126-8E34-052627E0F565}" type="presOf" srcId="{F4BD855E-6EE5-4C4E-9E34-1CEE32AE746F}" destId="{86C7210D-AD82-4B1A-B48E-C14612387AEF}" srcOrd="0" destOrd="0" presId="urn:microsoft.com/office/officeart/2005/8/layout/arrow2#1"/>
    <dgm:cxn modelId="{4A976637-728F-489E-90FF-E4A7CA0BCEFC}" srcId="{A4C6BB8E-5D12-47EE-9532-EF0B078BFEFF}" destId="{C4D3D8BD-285E-4F18-883A-15EC24F3773C}" srcOrd="1" destOrd="0" parTransId="{065DB2C7-75DB-4BE4-9EDE-7AA972A0EFF5}" sibTransId="{81DF9C76-F0CE-454E-9505-6791D73B0E2B}"/>
    <dgm:cxn modelId="{E15F45B2-E49A-45A6-8A7E-99F5788CF664}" type="presOf" srcId="{C4D3D8BD-285E-4F18-883A-15EC24F3773C}" destId="{2A5DB67D-7F34-4B8D-B4A5-CDF7CC9F7D24}" srcOrd="0" destOrd="0" presId="urn:microsoft.com/office/officeart/2005/8/layout/arrow2#1"/>
    <dgm:cxn modelId="{E1B68FC4-4308-4ADA-8048-8475252187CA}" type="presOf" srcId="{A4C6BB8E-5D12-47EE-9532-EF0B078BFEFF}" destId="{54196F62-8459-43C6-98E9-6AA3D05FF621}" srcOrd="0" destOrd="0" presId="urn:microsoft.com/office/officeart/2005/8/layout/arrow2#1"/>
    <dgm:cxn modelId="{C199159E-C2E6-4A2A-8F3E-524EB27173AA}" type="presParOf" srcId="{54196F62-8459-43C6-98E9-6AA3D05FF621}" destId="{85928A6C-917C-4422-8B0C-B384910AB9BE}" srcOrd="0" destOrd="0" presId="urn:microsoft.com/office/officeart/2005/8/layout/arrow2#1"/>
    <dgm:cxn modelId="{52B9A7BA-847D-4455-A8FB-9ADBC74CE633}" type="presParOf" srcId="{54196F62-8459-43C6-98E9-6AA3D05FF621}" destId="{CBA04E07-074E-498E-A80E-F06E353AD525}" srcOrd="1" destOrd="0" presId="urn:microsoft.com/office/officeart/2005/8/layout/arrow2#1"/>
    <dgm:cxn modelId="{EEF68B4C-0036-4AEE-9928-3B0966E65900}" type="presParOf" srcId="{CBA04E07-074E-498E-A80E-F06E353AD525}" destId="{BDA778E0-914A-4014-A757-C161C4F12353}" srcOrd="0" destOrd="0" presId="urn:microsoft.com/office/officeart/2005/8/layout/arrow2#1"/>
    <dgm:cxn modelId="{298DF650-1260-455D-B075-37D2E89B074F}" type="presParOf" srcId="{CBA04E07-074E-498E-A80E-F06E353AD525}" destId="{C6BC585F-842E-44EB-981C-8F0C5A17426C}" srcOrd="1" destOrd="0" presId="urn:microsoft.com/office/officeart/2005/8/layout/arrow2#1"/>
    <dgm:cxn modelId="{2E0C3CD1-56C6-4048-BFB1-BE325F387139}" type="presParOf" srcId="{CBA04E07-074E-498E-A80E-F06E353AD525}" destId="{42B61A1A-7B2A-46FF-982C-96AF72E27836}" srcOrd="2" destOrd="0" presId="urn:microsoft.com/office/officeart/2005/8/layout/arrow2#1"/>
    <dgm:cxn modelId="{2A524B02-5243-4A2B-AC5C-F21983760BC6}" type="presParOf" srcId="{CBA04E07-074E-498E-A80E-F06E353AD525}" destId="{2A5DB67D-7F34-4B8D-B4A5-CDF7CC9F7D24}" srcOrd="3" destOrd="0" presId="urn:microsoft.com/office/officeart/2005/8/layout/arrow2#1"/>
    <dgm:cxn modelId="{B8BDFEB4-3FD2-4AA2-998D-6464F5B910C4}" type="presParOf" srcId="{CBA04E07-074E-498E-A80E-F06E353AD525}" destId="{6D2946AD-7A2E-4586-B41B-7ED1FF4C11BD}" srcOrd="4" destOrd="0" presId="urn:microsoft.com/office/officeart/2005/8/layout/arrow2#1"/>
    <dgm:cxn modelId="{E01A469E-41D7-4F05-A4EE-5444AF298BFB}" type="presParOf" srcId="{CBA04E07-074E-498E-A80E-F06E353AD525}" destId="{86C7210D-AD82-4B1A-B48E-C14612387AEF}" srcOrd="5" destOrd="0" presId="urn:microsoft.com/office/officeart/2005/8/layout/arrow2#1"/>
    <dgm:cxn modelId="{42069C12-F907-4205-A7C5-A726892C5F6A}" type="presParOf" srcId="{CBA04E07-074E-498E-A80E-F06E353AD525}" destId="{94A5E327-9756-407D-A884-C3DD31453411}" srcOrd="6" destOrd="0" presId="urn:microsoft.com/office/officeart/2005/8/layout/arrow2#1"/>
    <dgm:cxn modelId="{4B8C3E5B-CDD9-41D4-9CDA-3A195CD3F4E3}" type="presParOf" srcId="{CBA04E07-074E-498E-A80E-F06E353AD525}" destId="{8190918A-6806-4110-95E3-94A3A1252364}" srcOrd="7" destOrd="0" presId="urn:microsoft.com/office/officeart/2005/8/layout/arrow2#1"/>
  </dgm:cxnLst>
  <dgm:bg>
    <a:solidFill>
      <a:schemeClr val="bg1"/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F620D9D2-94B3-44A7-9F84-3CBC1C0CA089}" type="doc">
      <dgm:prSet loTypeId="urn:microsoft.com/office/officeart/2005/8/layout/vProcess5" loCatId="process" qsTypeId="urn:microsoft.com/office/officeart/2005/8/quickstyle/simple1#5" qsCatId="simple" csTypeId="urn:microsoft.com/office/officeart/2005/8/colors/colorful4#4" csCatId="accent1" phldr="1"/>
      <dgm:spPr/>
      <dgm:t>
        <a:bodyPr/>
        <a:lstStyle/>
        <a:p>
          <a:endParaRPr lang="es-ES"/>
        </a:p>
      </dgm:t>
    </dgm:pt>
    <dgm:pt modelId="{38C0F6CA-9A17-4DAA-8164-A2F8BD2CE7AD}">
      <dgm:prSet phldrT="[Texto]"/>
      <dgm:spPr/>
      <dgm:t>
        <a:bodyPr/>
        <a:lstStyle/>
        <a:p>
          <a:r>
            <a:rPr lang="es-ES" dirty="0" smtClean="0"/>
            <a:t>Realizar preguntas acerca de los aspectos que son poco definidos, sobre información que no esta presente antes de la retroalimentación </a:t>
          </a:r>
          <a:endParaRPr lang="es-ES" dirty="0"/>
        </a:p>
      </dgm:t>
    </dgm:pt>
    <dgm:pt modelId="{14BC8BC3-05B0-4EFF-BC83-E73F69351A10}" type="parTrans" cxnId="{9BC55E15-CCEF-4478-A20D-38F6C232375F}">
      <dgm:prSet/>
      <dgm:spPr/>
      <dgm:t>
        <a:bodyPr/>
        <a:lstStyle/>
        <a:p>
          <a:endParaRPr lang="es-ES"/>
        </a:p>
      </dgm:t>
    </dgm:pt>
    <dgm:pt modelId="{4FEFD4BC-173E-4267-B932-0A49B69E2AE2}" type="sibTrans" cxnId="{9BC55E15-CCEF-4478-A20D-38F6C232375F}">
      <dgm:prSet/>
      <dgm:spPr/>
      <dgm:t>
        <a:bodyPr/>
        <a:lstStyle/>
        <a:p>
          <a:endParaRPr lang="es-ES"/>
        </a:p>
      </dgm:t>
    </dgm:pt>
    <dgm:pt modelId="{9AE53791-9C09-4C78-8900-2836DBF38113}">
      <dgm:prSet phldrT="[Texto]"/>
      <dgm:spPr/>
      <dgm:t>
        <a:bodyPr/>
        <a:lstStyle/>
        <a:p>
          <a:r>
            <a:rPr lang="es-ES" dirty="0" smtClean="0"/>
            <a:t>A través de las preguntas, comprender las ideas que comparten los estudiantes sobre su trabajo </a:t>
          </a:r>
          <a:endParaRPr lang="es-ES" dirty="0"/>
        </a:p>
      </dgm:t>
    </dgm:pt>
    <dgm:pt modelId="{03E3203B-8F6A-4B1B-9391-A6A37415BD50}" type="parTrans" cxnId="{C4B83E08-3E86-492F-AF2F-12F343ADF6B4}">
      <dgm:prSet/>
      <dgm:spPr/>
      <dgm:t>
        <a:bodyPr/>
        <a:lstStyle/>
        <a:p>
          <a:endParaRPr lang="es-ES"/>
        </a:p>
      </dgm:t>
    </dgm:pt>
    <dgm:pt modelId="{5DA34597-9222-467A-A03C-15B32DD448E2}" type="sibTrans" cxnId="{C4B83E08-3E86-492F-AF2F-12F343ADF6B4}">
      <dgm:prSet/>
      <dgm:spPr/>
      <dgm:t>
        <a:bodyPr/>
        <a:lstStyle/>
        <a:p>
          <a:endParaRPr lang="es-ES"/>
        </a:p>
      </dgm:t>
    </dgm:pt>
    <dgm:pt modelId="{2ABC46DB-6A7E-4584-8292-36F7335AEE98}">
      <dgm:prSet phldrT="[Texto]"/>
      <dgm:spPr/>
      <dgm:t>
        <a:bodyPr/>
        <a:lstStyle/>
        <a:p>
          <a:r>
            <a:rPr lang="es-ES" dirty="0" smtClean="0"/>
            <a:t>¿Qué veo/observo? ¿Qué datos me brinda el caso? ¿Qué otra información necesito?</a:t>
          </a:r>
          <a:endParaRPr lang="es-ES" dirty="0"/>
        </a:p>
      </dgm:t>
    </dgm:pt>
    <dgm:pt modelId="{9E90D884-B40F-470F-8ADF-E3F4B5D8ECEE}" type="parTrans" cxnId="{D94F221C-8405-41FE-A797-3F66D56CC881}">
      <dgm:prSet/>
      <dgm:spPr/>
      <dgm:t>
        <a:bodyPr/>
        <a:lstStyle/>
        <a:p>
          <a:endParaRPr lang="es-ES"/>
        </a:p>
      </dgm:t>
    </dgm:pt>
    <dgm:pt modelId="{963C0431-D610-472C-81AA-24ACDA275DAB}" type="sibTrans" cxnId="{D94F221C-8405-41FE-A797-3F66D56CC881}">
      <dgm:prSet/>
      <dgm:spPr/>
      <dgm:t>
        <a:bodyPr/>
        <a:lstStyle/>
        <a:p>
          <a:endParaRPr lang="es-ES"/>
        </a:p>
      </dgm:t>
    </dgm:pt>
    <dgm:pt modelId="{5B8B16E4-98B7-4656-9996-046577CD4CB0}" type="pres">
      <dgm:prSet presAssocID="{F620D9D2-94B3-44A7-9F84-3CBC1C0CA089}" presName="outerComposite" presStyleCnt="0">
        <dgm:presLayoutVars>
          <dgm:chMax val="5"/>
          <dgm:dir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8D3D9756-2D87-46C9-9646-8361E0EE32D3}" type="pres">
      <dgm:prSet presAssocID="{F620D9D2-94B3-44A7-9F84-3CBC1C0CA089}" presName="dummyMaxCanvas" presStyleCnt="0">
        <dgm:presLayoutVars/>
      </dgm:prSet>
      <dgm:spPr/>
    </dgm:pt>
    <dgm:pt modelId="{0956A8EF-23AB-4E1C-91C1-D315D8386457}" type="pres">
      <dgm:prSet presAssocID="{F620D9D2-94B3-44A7-9F84-3CBC1C0CA089}" presName="ThreeNodes_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4A008234-94AB-455E-8CDF-85C2AC401B8C}" type="pres">
      <dgm:prSet presAssocID="{F620D9D2-94B3-44A7-9F84-3CBC1C0CA089}" presName="ThreeNodes_2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4F33AB7C-2934-4BEB-B3B8-4A6D8B1C0FBC}" type="pres">
      <dgm:prSet presAssocID="{F620D9D2-94B3-44A7-9F84-3CBC1C0CA089}" presName="ThreeNodes_3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A1D61316-8199-4A11-A5FD-D3238B45A9A8}" type="pres">
      <dgm:prSet presAssocID="{F620D9D2-94B3-44A7-9F84-3CBC1C0CA089}" presName="ThreeConn_1-2" presStyleLbl="fgAccFollowNode1" presStyleIdx="0" presStyleCnt="2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817DDF33-2B31-469A-B3DA-A0B2740DA96E}" type="pres">
      <dgm:prSet presAssocID="{F620D9D2-94B3-44A7-9F84-3CBC1C0CA089}" presName="ThreeConn_2-3" presStyleLbl="fgAccFollowNode1" presStyleIdx="1" presStyleCnt="2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FE072815-5FBF-4C59-8687-5BF5F9C1E0FA}" type="pres">
      <dgm:prSet presAssocID="{F620D9D2-94B3-44A7-9F84-3CBC1C0CA089}" presName="ThreeNodes_1_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14F5CBFA-DC0E-4D2E-B7AF-46DE5785DF58}" type="pres">
      <dgm:prSet presAssocID="{F620D9D2-94B3-44A7-9F84-3CBC1C0CA089}" presName="ThreeNodes_2_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1CF26012-4D02-4063-B2B9-A79DF259F755}" type="pres">
      <dgm:prSet presAssocID="{F620D9D2-94B3-44A7-9F84-3CBC1C0CA089}" presName="ThreeNodes_3_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D94F221C-8405-41FE-A797-3F66D56CC881}" srcId="{F620D9D2-94B3-44A7-9F84-3CBC1C0CA089}" destId="{2ABC46DB-6A7E-4584-8292-36F7335AEE98}" srcOrd="2" destOrd="0" parTransId="{9E90D884-B40F-470F-8ADF-E3F4B5D8ECEE}" sibTransId="{963C0431-D610-472C-81AA-24ACDA275DAB}"/>
    <dgm:cxn modelId="{FE7D2818-15D4-47D9-A57D-805E54C07912}" type="presOf" srcId="{38C0F6CA-9A17-4DAA-8164-A2F8BD2CE7AD}" destId="{FE072815-5FBF-4C59-8687-5BF5F9C1E0FA}" srcOrd="1" destOrd="0" presId="urn:microsoft.com/office/officeart/2005/8/layout/vProcess5"/>
    <dgm:cxn modelId="{A7E218E2-587A-432C-8009-C909F150C482}" type="presOf" srcId="{F620D9D2-94B3-44A7-9F84-3CBC1C0CA089}" destId="{5B8B16E4-98B7-4656-9996-046577CD4CB0}" srcOrd="0" destOrd="0" presId="urn:microsoft.com/office/officeart/2005/8/layout/vProcess5"/>
    <dgm:cxn modelId="{6FA68110-AB60-4FA0-9CBB-6F1068DC7619}" type="presOf" srcId="{9AE53791-9C09-4C78-8900-2836DBF38113}" destId="{14F5CBFA-DC0E-4D2E-B7AF-46DE5785DF58}" srcOrd="1" destOrd="0" presId="urn:microsoft.com/office/officeart/2005/8/layout/vProcess5"/>
    <dgm:cxn modelId="{A94F8192-D94E-443F-90FD-0247BDC9427E}" type="presOf" srcId="{38C0F6CA-9A17-4DAA-8164-A2F8BD2CE7AD}" destId="{0956A8EF-23AB-4E1C-91C1-D315D8386457}" srcOrd="0" destOrd="0" presId="urn:microsoft.com/office/officeart/2005/8/layout/vProcess5"/>
    <dgm:cxn modelId="{1F2E53F7-F1DD-4C43-8BA6-E732AA092680}" type="presOf" srcId="{4FEFD4BC-173E-4267-B932-0A49B69E2AE2}" destId="{A1D61316-8199-4A11-A5FD-D3238B45A9A8}" srcOrd="0" destOrd="0" presId="urn:microsoft.com/office/officeart/2005/8/layout/vProcess5"/>
    <dgm:cxn modelId="{666DE72E-9555-40DE-A95A-D45B56EFBDC7}" type="presOf" srcId="{2ABC46DB-6A7E-4584-8292-36F7335AEE98}" destId="{4F33AB7C-2934-4BEB-B3B8-4A6D8B1C0FBC}" srcOrd="0" destOrd="0" presId="urn:microsoft.com/office/officeart/2005/8/layout/vProcess5"/>
    <dgm:cxn modelId="{D4E19803-E0A3-481E-AAF2-248B3429B0D2}" type="presOf" srcId="{5DA34597-9222-467A-A03C-15B32DD448E2}" destId="{817DDF33-2B31-469A-B3DA-A0B2740DA96E}" srcOrd="0" destOrd="0" presId="urn:microsoft.com/office/officeart/2005/8/layout/vProcess5"/>
    <dgm:cxn modelId="{ABFFB2A7-44E1-4611-9805-889B9565577D}" type="presOf" srcId="{9AE53791-9C09-4C78-8900-2836DBF38113}" destId="{4A008234-94AB-455E-8CDF-85C2AC401B8C}" srcOrd="0" destOrd="0" presId="urn:microsoft.com/office/officeart/2005/8/layout/vProcess5"/>
    <dgm:cxn modelId="{9BC55E15-CCEF-4478-A20D-38F6C232375F}" srcId="{F620D9D2-94B3-44A7-9F84-3CBC1C0CA089}" destId="{38C0F6CA-9A17-4DAA-8164-A2F8BD2CE7AD}" srcOrd="0" destOrd="0" parTransId="{14BC8BC3-05B0-4EFF-BC83-E73F69351A10}" sibTransId="{4FEFD4BC-173E-4267-B932-0A49B69E2AE2}"/>
    <dgm:cxn modelId="{4186D3AF-C582-492D-A3E7-D7084F85948B}" type="presOf" srcId="{2ABC46DB-6A7E-4584-8292-36F7335AEE98}" destId="{1CF26012-4D02-4063-B2B9-A79DF259F755}" srcOrd="1" destOrd="0" presId="urn:microsoft.com/office/officeart/2005/8/layout/vProcess5"/>
    <dgm:cxn modelId="{C4B83E08-3E86-492F-AF2F-12F343ADF6B4}" srcId="{F620D9D2-94B3-44A7-9F84-3CBC1C0CA089}" destId="{9AE53791-9C09-4C78-8900-2836DBF38113}" srcOrd="1" destOrd="0" parTransId="{03E3203B-8F6A-4B1B-9391-A6A37415BD50}" sibTransId="{5DA34597-9222-467A-A03C-15B32DD448E2}"/>
    <dgm:cxn modelId="{F5CB2279-BCAE-4323-A8C4-9F5D0EE10800}" type="presParOf" srcId="{5B8B16E4-98B7-4656-9996-046577CD4CB0}" destId="{8D3D9756-2D87-46C9-9646-8361E0EE32D3}" srcOrd="0" destOrd="0" presId="urn:microsoft.com/office/officeart/2005/8/layout/vProcess5"/>
    <dgm:cxn modelId="{5B3A410F-2EA9-43C0-A049-F05FB38519FC}" type="presParOf" srcId="{5B8B16E4-98B7-4656-9996-046577CD4CB0}" destId="{0956A8EF-23AB-4E1C-91C1-D315D8386457}" srcOrd="1" destOrd="0" presId="urn:microsoft.com/office/officeart/2005/8/layout/vProcess5"/>
    <dgm:cxn modelId="{7A08F32F-3480-418C-8052-88DB3884DBAC}" type="presParOf" srcId="{5B8B16E4-98B7-4656-9996-046577CD4CB0}" destId="{4A008234-94AB-455E-8CDF-85C2AC401B8C}" srcOrd="2" destOrd="0" presId="urn:microsoft.com/office/officeart/2005/8/layout/vProcess5"/>
    <dgm:cxn modelId="{B6DDC4C4-ACF9-469F-B262-DC24988101EA}" type="presParOf" srcId="{5B8B16E4-98B7-4656-9996-046577CD4CB0}" destId="{4F33AB7C-2934-4BEB-B3B8-4A6D8B1C0FBC}" srcOrd="3" destOrd="0" presId="urn:microsoft.com/office/officeart/2005/8/layout/vProcess5"/>
    <dgm:cxn modelId="{715769A7-039F-4515-84A6-F3DE217A0B97}" type="presParOf" srcId="{5B8B16E4-98B7-4656-9996-046577CD4CB0}" destId="{A1D61316-8199-4A11-A5FD-D3238B45A9A8}" srcOrd="4" destOrd="0" presId="urn:microsoft.com/office/officeart/2005/8/layout/vProcess5"/>
    <dgm:cxn modelId="{CAEA3AD2-9050-4EF1-A699-C5DF66DCFF4B}" type="presParOf" srcId="{5B8B16E4-98B7-4656-9996-046577CD4CB0}" destId="{817DDF33-2B31-469A-B3DA-A0B2740DA96E}" srcOrd="5" destOrd="0" presId="urn:microsoft.com/office/officeart/2005/8/layout/vProcess5"/>
    <dgm:cxn modelId="{E2BFC7BC-7E76-4667-8EA0-8BF19E28C0DB}" type="presParOf" srcId="{5B8B16E4-98B7-4656-9996-046577CD4CB0}" destId="{FE072815-5FBF-4C59-8687-5BF5F9C1E0FA}" srcOrd="6" destOrd="0" presId="urn:microsoft.com/office/officeart/2005/8/layout/vProcess5"/>
    <dgm:cxn modelId="{E4D7D48A-7DCF-439B-8552-CD1660B5A477}" type="presParOf" srcId="{5B8B16E4-98B7-4656-9996-046577CD4CB0}" destId="{14F5CBFA-DC0E-4D2E-B7AF-46DE5785DF58}" srcOrd="7" destOrd="0" presId="urn:microsoft.com/office/officeart/2005/8/layout/vProcess5"/>
    <dgm:cxn modelId="{20D99225-6C3A-4915-8D5F-2F67BB759C83}" type="presParOf" srcId="{5B8B16E4-98B7-4656-9996-046577CD4CB0}" destId="{1CF26012-4D02-4063-B2B9-A79DF259F755}" srcOrd="8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E466D2F-F2C6-4AF4-B2E3-884DF9B4CDD6}">
      <dsp:nvSpPr>
        <dsp:cNvPr id="0" name=""/>
        <dsp:cNvSpPr/>
      </dsp:nvSpPr>
      <dsp:spPr>
        <a:xfrm>
          <a:off x="3745588" y="-23312"/>
          <a:ext cx="1903623" cy="1381342"/>
        </a:xfrm>
        <a:prstGeom prst="ellipse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endParaRPr lang="es-PE" sz="1600" b="1" kern="1200" dirty="0" smtClean="0">
            <a:solidFill>
              <a:schemeClr val="tx1"/>
            </a:solidFill>
            <a:latin typeface="Calibri" panose="020F0502020204030204"/>
            <a:ea typeface="+mn-ea"/>
            <a:cs typeface="+mn-cs"/>
          </a:endParaRPr>
        </a:p>
      </dsp:txBody>
      <dsp:txXfrm>
        <a:off x="4024367" y="178981"/>
        <a:ext cx="1346065" cy="976756"/>
      </dsp:txXfrm>
    </dsp:sp>
    <dsp:sp modelId="{457D5015-CA24-41E9-9619-B2A2D9A8256C}">
      <dsp:nvSpPr>
        <dsp:cNvPr id="0" name=""/>
        <dsp:cNvSpPr/>
      </dsp:nvSpPr>
      <dsp:spPr>
        <a:xfrm rot="2146885">
          <a:off x="5406501" y="1012123"/>
          <a:ext cx="139406" cy="433084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PE" sz="1800" kern="120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sp:txBody>
      <dsp:txXfrm>
        <a:off x="5410448" y="1086513"/>
        <a:ext cx="97584" cy="259850"/>
      </dsp:txXfrm>
    </dsp:sp>
    <dsp:sp modelId="{DCD3FB55-02D0-4584-A53A-1E1D3FBABB3D}">
      <dsp:nvSpPr>
        <dsp:cNvPr id="0" name=""/>
        <dsp:cNvSpPr/>
      </dsp:nvSpPr>
      <dsp:spPr>
        <a:xfrm>
          <a:off x="5208784" y="1157327"/>
          <a:ext cx="2117317" cy="1283214"/>
        </a:xfrm>
        <a:prstGeom prst="ellipse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endParaRPr lang="es-PE" sz="1400" b="1" kern="1200" dirty="0" smtClean="0">
            <a:solidFill>
              <a:schemeClr val="tx1"/>
            </a:solidFill>
            <a:latin typeface="Calibri" panose="020F0502020204030204"/>
            <a:ea typeface="+mn-ea"/>
            <a:cs typeface="+mn-cs"/>
          </a:endParaRPr>
        </a:p>
      </dsp:txBody>
      <dsp:txXfrm>
        <a:off x="5518858" y="1345249"/>
        <a:ext cx="1497169" cy="907370"/>
      </dsp:txXfrm>
    </dsp:sp>
    <dsp:sp modelId="{DB5E9E3A-BED3-48D2-B3EF-A991091440CD}">
      <dsp:nvSpPr>
        <dsp:cNvPr id="0" name=""/>
        <dsp:cNvSpPr/>
      </dsp:nvSpPr>
      <dsp:spPr>
        <a:xfrm rot="6501300">
          <a:off x="5804115" y="2492005"/>
          <a:ext cx="323066" cy="433084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PE" sz="1800" kern="120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sp:txBody>
      <dsp:txXfrm rot="10800000">
        <a:off x="5867835" y="2532627"/>
        <a:ext cx="226146" cy="259850"/>
      </dsp:txXfrm>
    </dsp:sp>
    <dsp:sp modelId="{8EC20D3C-2162-47FC-94A7-980A0E98678E}">
      <dsp:nvSpPr>
        <dsp:cNvPr id="0" name=""/>
        <dsp:cNvSpPr/>
      </dsp:nvSpPr>
      <dsp:spPr>
        <a:xfrm>
          <a:off x="4786649" y="2988248"/>
          <a:ext cx="1746647" cy="1283214"/>
        </a:xfrm>
        <a:prstGeom prst="ellipse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s-PE" sz="1600" b="1" kern="1200" smtClean="0">
              <a:solidFill>
                <a:schemeClr val="tx1"/>
              </a:solidFill>
              <a:latin typeface="Calibri" panose="020F0502020204030204"/>
              <a:ea typeface="+mn-ea"/>
              <a:cs typeface="+mn-cs"/>
            </a:rPr>
            <a:t>Conocer y valorar</a:t>
          </a:r>
          <a:endParaRPr lang="es-PE" sz="1600" b="1" kern="1200" dirty="0" smtClean="0">
            <a:solidFill>
              <a:schemeClr val="tx1"/>
            </a:solidFill>
            <a:latin typeface="Calibri" panose="020F0502020204030204"/>
            <a:ea typeface="+mn-ea"/>
            <a:cs typeface="+mn-cs"/>
          </a:endParaRPr>
        </a:p>
      </dsp:txBody>
      <dsp:txXfrm>
        <a:off x="5042440" y="3176170"/>
        <a:ext cx="1235065" cy="907370"/>
      </dsp:txXfrm>
    </dsp:sp>
    <dsp:sp modelId="{664C7E46-068F-4BDD-B817-A8D7020202BD}">
      <dsp:nvSpPr>
        <dsp:cNvPr id="0" name=""/>
        <dsp:cNvSpPr/>
      </dsp:nvSpPr>
      <dsp:spPr>
        <a:xfrm rot="10800000">
          <a:off x="4475642" y="3413313"/>
          <a:ext cx="219778" cy="433084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PE" sz="1800" kern="120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sp:txBody>
      <dsp:txXfrm rot="10800000">
        <a:off x="4541575" y="3499930"/>
        <a:ext cx="153845" cy="259850"/>
      </dsp:txXfrm>
    </dsp:sp>
    <dsp:sp modelId="{1491EC04-85E3-4080-9E96-A328AE9CE28D}">
      <dsp:nvSpPr>
        <dsp:cNvPr id="0" name=""/>
        <dsp:cNvSpPr/>
      </dsp:nvSpPr>
      <dsp:spPr>
        <a:xfrm>
          <a:off x="2891502" y="2988248"/>
          <a:ext cx="1480470" cy="1283214"/>
        </a:xfrm>
        <a:prstGeom prst="ellipse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endParaRPr lang="es-PE" sz="1600" b="1" kern="1200" dirty="0" smtClean="0">
            <a:solidFill>
              <a:schemeClr val="tx1"/>
            </a:solidFill>
            <a:latin typeface="Calibri" panose="020F0502020204030204"/>
            <a:ea typeface="+mn-ea"/>
            <a:cs typeface="+mn-cs"/>
          </a:endParaRPr>
        </a:p>
      </dsp:txBody>
      <dsp:txXfrm>
        <a:off x="3108312" y="3176170"/>
        <a:ext cx="1046850" cy="907370"/>
      </dsp:txXfrm>
    </dsp:sp>
    <dsp:sp modelId="{441237D5-C8C1-48C5-8702-F358C9B42300}">
      <dsp:nvSpPr>
        <dsp:cNvPr id="0" name=""/>
        <dsp:cNvSpPr/>
      </dsp:nvSpPr>
      <dsp:spPr>
        <a:xfrm rot="14651761">
          <a:off x="3160288" y="2651597"/>
          <a:ext cx="206313" cy="433084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PE" sz="1800" kern="120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sp:txBody>
      <dsp:txXfrm rot="10800000">
        <a:off x="3204706" y="2766075"/>
        <a:ext cx="144419" cy="259850"/>
      </dsp:txXfrm>
    </dsp:sp>
    <dsp:sp modelId="{2C1CEE50-384D-4564-A656-E2FBB2355410}">
      <dsp:nvSpPr>
        <dsp:cNvPr id="0" name=""/>
        <dsp:cNvSpPr/>
      </dsp:nvSpPr>
      <dsp:spPr>
        <a:xfrm>
          <a:off x="1922608" y="1312260"/>
          <a:ext cx="1863266" cy="1419107"/>
        </a:xfrm>
        <a:prstGeom prst="ellipse">
          <a:avLst/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endParaRPr lang="es-PE" sz="1400" b="1" kern="1200" dirty="0" smtClean="0">
            <a:solidFill>
              <a:schemeClr val="tx1"/>
            </a:solidFill>
            <a:latin typeface="Calibri" panose="020F0502020204030204"/>
            <a:ea typeface="+mn-ea"/>
            <a:cs typeface="+mn-cs"/>
          </a:endParaRPr>
        </a:p>
      </dsp:txBody>
      <dsp:txXfrm>
        <a:off x="2195477" y="1520083"/>
        <a:ext cx="1317528" cy="1003461"/>
      </dsp:txXfrm>
    </dsp:sp>
    <dsp:sp modelId="{F852202A-CC66-449D-BFC4-A94FB4EE5ACB}">
      <dsp:nvSpPr>
        <dsp:cNvPr id="0" name=""/>
        <dsp:cNvSpPr/>
      </dsp:nvSpPr>
      <dsp:spPr>
        <a:xfrm rot="19421369">
          <a:off x="3603369" y="1132985"/>
          <a:ext cx="331453" cy="433084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s-PE" sz="1800" kern="1200">
            <a:solidFill>
              <a:sysClr val="window" lastClr="FFFFFF"/>
            </a:solidFill>
            <a:latin typeface="Calibri" panose="020F0502020204030204"/>
            <a:ea typeface="+mn-ea"/>
            <a:cs typeface="+mn-cs"/>
          </a:endParaRPr>
        </a:p>
      </dsp:txBody>
      <dsp:txXfrm>
        <a:off x="3613023" y="1249043"/>
        <a:ext cx="232017" cy="259850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030A3AF-A010-49BE-B3E5-09C36362D3E5}">
      <dsp:nvSpPr>
        <dsp:cNvPr id="0" name=""/>
        <dsp:cNvSpPr/>
      </dsp:nvSpPr>
      <dsp:spPr>
        <a:xfrm>
          <a:off x="609599" y="0"/>
          <a:ext cx="6908800" cy="5418667"/>
        </a:xfrm>
        <a:prstGeom prst="rightArrow">
          <a:avLst/>
        </a:prstGeom>
        <a:solidFill>
          <a:srgbClr val="92D05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267D02C-2291-480A-96B7-EC945D6A29A2}">
      <dsp:nvSpPr>
        <dsp:cNvPr id="0" name=""/>
        <dsp:cNvSpPr/>
      </dsp:nvSpPr>
      <dsp:spPr>
        <a:xfrm>
          <a:off x="275431" y="1625600"/>
          <a:ext cx="2438400" cy="2167466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s-ES" sz="1500" b="1" kern="1200" dirty="0" smtClean="0">
              <a:solidFill>
                <a:schemeClr val="tx1"/>
              </a:solidFill>
            </a:rPr>
            <a:t>Enfatizar los puntos positivos del trabajo, se crea un clima de confianza</a:t>
          </a:r>
        </a:p>
      </dsp:txBody>
      <dsp:txXfrm>
        <a:off x="381238" y="1731407"/>
        <a:ext cx="2226786" cy="1955852"/>
      </dsp:txXfrm>
    </dsp:sp>
    <dsp:sp modelId="{2AC2ACC4-F904-44A3-A8A0-2694F4608E35}">
      <dsp:nvSpPr>
        <dsp:cNvPr id="0" name=""/>
        <dsp:cNvSpPr/>
      </dsp:nvSpPr>
      <dsp:spPr>
        <a:xfrm>
          <a:off x="2844799" y="1625600"/>
          <a:ext cx="2438400" cy="2167466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s-ES" sz="1500" b="1" kern="1200" dirty="0" smtClean="0">
              <a:solidFill>
                <a:schemeClr val="tx1"/>
              </a:solidFill>
            </a:rPr>
            <a:t>Destacar las fortalezas y aspectos interesantes, ofrecer comentarios honestos. Este tipo de valoración muestra respeto hacia los estudiantes y sus </a:t>
          </a:r>
          <a:r>
            <a:rPr lang="es-ES" sz="1500" b="1" kern="1200" dirty="0" err="1" smtClean="0">
              <a:solidFill>
                <a:schemeClr val="tx1"/>
              </a:solidFill>
            </a:rPr>
            <a:t>hideas</a:t>
          </a:r>
          <a:r>
            <a:rPr lang="es-ES" sz="1500" kern="1200" dirty="0" smtClean="0"/>
            <a:t> </a:t>
          </a:r>
          <a:endParaRPr lang="es-ES" sz="1500" kern="1200" dirty="0"/>
        </a:p>
      </dsp:txBody>
      <dsp:txXfrm>
        <a:off x="2950606" y="1731407"/>
        <a:ext cx="2226786" cy="1955852"/>
      </dsp:txXfrm>
    </dsp:sp>
    <dsp:sp modelId="{FDD2F85B-E1D1-498F-9636-61BDF2F4CA45}">
      <dsp:nvSpPr>
        <dsp:cNvPr id="0" name=""/>
        <dsp:cNvSpPr/>
      </dsp:nvSpPr>
      <dsp:spPr>
        <a:xfrm>
          <a:off x="5414168" y="1625600"/>
          <a:ext cx="2438400" cy="2167466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s-ES" sz="2400" kern="1200" dirty="0" smtClean="0">
              <a:solidFill>
                <a:schemeClr val="tx1"/>
              </a:solidFill>
            </a:rPr>
            <a:t>¿Que es lo que mas importa?</a:t>
          </a:r>
        </a:p>
      </dsp:txBody>
      <dsp:txXfrm>
        <a:off x="5519975" y="1731407"/>
        <a:ext cx="2226786" cy="1955852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B17C96D-C8DF-4406-AFFD-2B65FCF4E4F4}">
      <dsp:nvSpPr>
        <dsp:cNvPr id="0" name=""/>
        <dsp:cNvSpPr/>
      </dsp:nvSpPr>
      <dsp:spPr>
        <a:xfrm>
          <a:off x="0" y="1014167"/>
          <a:ext cx="7685662" cy="955339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0969AF8-35FE-4CB6-B370-C304C4D6C08D}">
      <dsp:nvSpPr>
        <dsp:cNvPr id="0" name=""/>
        <dsp:cNvSpPr/>
      </dsp:nvSpPr>
      <dsp:spPr>
        <a:xfrm>
          <a:off x="435424" y="719206"/>
          <a:ext cx="5696278" cy="1032312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350" tIns="0" rIns="203350" bIns="0" numCol="1" spcCol="1270" anchor="ctr" anchorCtr="0">
          <a:noAutofit/>
        </a:bodyPr>
        <a:lstStyle/>
        <a:p>
          <a:pPr lvl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s-ES" sz="1800" kern="1200" dirty="0" smtClean="0">
              <a:solidFill>
                <a:schemeClr val="tx1"/>
              </a:solidFill>
            </a:rPr>
            <a:t>Expresar las inquietudes que tengas del trabajo que valorando ¿Qué es lo mas importante? Enuncio hipótesis?</a:t>
          </a:r>
        </a:p>
      </dsp:txBody>
      <dsp:txXfrm>
        <a:off x="485817" y="769599"/>
        <a:ext cx="5595492" cy="931526"/>
      </dsp:txXfrm>
    </dsp:sp>
    <dsp:sp modelId="{F9ACE74E-D80F-43B4-8DC8-3B27F2186D61}">
      <dsp:nvSpPr>
        <dsp:cNvPr id="0" name=""/>
        <dsp:cNvSpPr/>
      </dsp:nvSpPr>
      <dsp:spPr>
        <a:xfrm>
          <a:off x="0" y="2882612"/>
          <a:ext cx="7685662" cy="302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5197847"/>
              <a:satOff val="-23984"/>
              <a:lumOff val="883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891BF6E-8FFD-4DDF-AFCB-6AF2242A1E5B}">
      <dsp:nvSpPr>
        <dsp:cNvPr id="0" name=""/>
        <dsp:cNvSpPr/>
      </dsp:nvSpPr>
      <dsp:spPr>
        <a:xfrm>
          <a:off x="383907" y="2034306"/>
          <a:ext cx="5765343" cy="1025425"/>
        </a:xfrm>
        <a:prstGeom prst="roundRect">
          <a:avLst/>
        </a:prstGeom>
        <a:solidFill>
          <a:schemeClr val="accent4">
            <a:hueOff val="5197847"/>
            <a:satOff val="-23984"/>
            <a:lumOff val="88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350" tIns="0" rIns="203350" bIns="0" numCol="1" spcCol="1270" anchor="ctr" anchorCtr="0">
          <a:noAutofit/>
        </a:bodyPr>
        <a:lstStyle/>
        <a:p>
          <a:pPr lvl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s-ES" sz="1800" kern="1200" dirty="0" smtClean="0">
              <a:solidFill>
                <a:schemeClr val="tx1"/>
              </a:solidFill>
            </a:rPr>
            <a:t>Expresar las preocupaciones, dificultades o desacuerdos con algunas de las ideas en cuestión </a:t>
          </a:r>
        </a:p>
      </dsp:txBody>
      <dsp:txXfrm>
        <a:off x="433964" y="2084363"/>
        <a:ext cx="5665229" cy="925311"/>
      </dsp:txXfrm>
    </dsp:sp>
    <dsp:sp modelId="{B6ADA44A-A5F5-478B-972F-220353C1E091}">
      <dsp:nvSpPr>
        <dsp:cNvPr id="0" name=""/>
        <dsp:cNvSpPr/>
      </dsp:nvSpPr>
      <dsp:spPr>
        <a:xfrm>
          <a:off x="0" y="4265170"/>
          <a:ext cx="7685662" cy="3024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10395693"/>
              <a:satOff val="-47968"/>
              <a:lumOff val="1765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C422912-7CC8-4708-BA61-37AF58634693}">
      <dsp:nvSpPr>
        <dsp:cNvPr id="0" name=""/>
        <dsp:cNvSpPr/>
      </dsp:nvSpPr>
      <dsp:spPr>
        <a:xfrm>
          <a:off x="338541" y="3301329"/>
          <a:ext cx="5919651" cy="1192478"/>
        </a:xfrm>
        <a:prstGeom prst="roundRect">
          <a:avLst/>
        </a:prstGeom>
        <a:solidFill>
          <a:schemeClr val="accent4">
            <a:hueOff val="10395693"/>
            <a:satOff val="-47968"/>
            <a:lumOff val="176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350" tIns="0" rIns="203350" bIns="0" numCol="1" spcCol="1270" anchor="ctr" anchorCtr="0">
          <a:noAutofit/>
        </a:bodyPr>
        <a:lstStyle/>
        <a:p>
          <a:pPr lvl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s-ES" sz="1800" kern="1200" dirty="0" smtClean="0">
              <a:solidFill>
                <a:schemeClr val="tx1"/>
              </a:solidFill>
            </a:rPr>
            <a:t>Preguntas autenticas ¿ha considerado….? ¿me pregunto si lo que quieres decir es…? ¿tal vez ya presente acerca de esto pero…?</a:t>
          </a:r>
        </a:p>
      </dsp:txBody>
      <dsp:txXfrm>
        <a:off x="396753" y="3359541"/>
        <a:ext cx="5803227" cy="1076054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7BB009B-0134-4114-92FD-D6787D4456B8}">
      <dsp:nvSpPr>
        <dsp:cNvPr id="0" name=""/>
        <dsp:cNvSpPr/>
      </dsp:nvSpPr>
      <dsp:spPr>
        <a:xfrm rot="16200000">
          <a:off x="-910181" y="911087"/>
          <a:ext cx="4178904" cy="2356728"/>
        </a:xfrm>
        <a:prstGeom prst="flowChartManualOperation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0" rIns="132928" bIns="0" numCol="1" spcCol="1270" anchor="ctr" anchorCtr="0">
          <a:noAutofit/>
        </a:bodyPr>
        <a:lstStyle/>
        <a:p>
          <a:pPr lvl="0" algn="just" defTabSz="93345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s-ES" sz="2100" kern="1200" dirty="0" smtClean="0">
              <a:solidFill>
                <a:schemeClr val="tx1"/>
              </a:solidFill>
            </a:rPr>
            <a:t>Ofrecer sugerencias para resolver los problemas / dificultades que se han identificado.</a:t>
          </a:r>
        </a:p>
      </dsp:txBody>
      <dsp:txXfrm rot="5400000">
        <a:off x="907" y="835780"/>
        <a:ext cx="2356728" cy="2507342"/>
      </dsp:txXfrm>
    </dsp:sp>
    <dsp:sp modelId="{2E9D995B-653D-476A-8EE7-8479C901EE29}">
      <dsp:nvSpPr>
        <dsp:cNvPr id="0" name=""/>
        <dsp:cNvSpPr/>
      </dsp:nvSpPr>
      <dsp:spPr>
        <a:xfrm rot="16200000">
          <a:off x="1623302" y="911087"/>
          <a:ext cx="4178904" cy="2356728"/>
        </a:xfrm>
        <a:prstGeom prst="flowChartManualOperation">
          <a:avLst/>
        </a:prstGeom>
        <a:solidFill>
          <a:schemeClr val="accent4">
            <a:hueOff val="5197847"/>
            <a:satOff val="-23984"/>
            <a:lumOff val="88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0" rIns="132928" bIns="0" numCol="1" spcCol="1270" anchor="ctr" anchorCtr="0">
          <a:noAutofit/>
        </a:bodyPr>
        <a:lstStyle/>
        <a:p>
          <a:pPr lvl="0" algn="just" defTabSz="93345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s-ES" sz="2100" kern="1200" dirty="0" smtClean="0">
              <a:solidFill>
                <a:schemeClr val="tx1"/>
              </a:solidFill>
            </a:rPr>
            <a:t>Recomendar para apoyar al estudiante en el desarrollo de su comprensión y mejora de sus trabajos.</a:t>
          </a:r>
        </a:p>
      </dsp:txBody>
      <dsp:txXfrm rot="5400000">
        <a:off x="2534390" y="835780"/>
        <a:ext cx="2356728" cy="2507342"/>
      </dsp:txXfrm>
    </dsp:sp>
    <dsp:sp modelId="{3711C62F-25D9-4E7A-A00E-9DCA03C88FDB}">
      <dsp:nvSpPr>
        <dsp:cNvPr id="0" name=""/>
        <dsp:cNvSpPr/>
      </dsp:nvSpPr>
      <dsp:spPr>
        <a:xfrm rot="16200000">
          <a:off x="4156786" y="911087"/>
          <a:ext cx="4178904" cy="2356728"/>
        </a:xfrm>
        <a:prstGeom prst="flowChartManualOperation">
          <a:avLst/>
        </a:prstGeom>
        <a:solidFill>
          <a:schemeClr val="accent4">
            <a:hueOff val="10395693"/>
            <a:satOff val="-47968"/>
            <a:lumOff val="176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3350" tIns="0" rIns="132928" bIns="0" numCol="1" spcCol="1270" anchor="ctr" anchorCtr="0">
          <a:noAutofit/>
        </a:bodyPr>
        <a:lstStyle/>
        <a:p>
          <a:pPr lvl="0" algn="just" defTabSz="93345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s-ES" sz="2100" kern="1200" dirty="0" smtClean="0">
              <a:solidFill>
                <a:schemeClr val="tx1"/>
              </a:solidFill>
            </a:rPr>
            <a:t>Establecer líneas de acción para que el estudiante pueda utilizarlas como retroalimentación positiva.</a:t>
          </a:r>
        </a:p>
      </dsp:txBody>
      <dsp:txXfrm rot="5400000">
        <a:off x="5067874" y="835780"/>
        <a:ext cx="2356728" cy="250734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3F6C0C5-06FF-402A-ADAB-C04B411DDD1E}">
      <dsp:nvSpPr>
        <dsp:cNvPr id="0" name=""/>
        <dsp:cNvSpPr/>
      </dsp:nvSpPr>
      <dsp:spPr>
        <a:xfrm>
          <a:off x="2798292" y="894241"/>
          <a:ext cx="4603906" cy="4603906"/>
        </a:xfrm>
        <a:prstGeom prst="blockArc">
          <a:avLst>
            <a:gd name="adj1" fmla="val 10766581"/>
            <a:gd name="adj2" fmla="val 15870700"/>
            <a:gd name="adj3" fmla="val 4637"/>
          </a:avLst>
        </a:prstGeom>
        <a:solidFill>
          <a:schemeClr val="accent4">
            <a:hueOff val="10395693"/>
            <a:satOff val="-47968"/>
            <a:lumOff val="1765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078FAD9-8FFC-4A9F-AB6C-9DB9F997C465}">
      <dsp:nvSpPr>
        <dsp:cNvPr id="0" name=""/>
        <dsp:cNvSpPr/>
      </dsp:nvSpPr>
      <dsp:spPr>
        <a:xfrm>
          <a:off x="3103756" y="530047"/>
          <a:ext cx="4603906" cy="4603906"/>
        </a:xfrm>
        <a:prstGeom prst="blockArc">
          <a:avLst>
            <a:gd name="adj1" fmla="val 190712"/>
            <a:gd name="adj2" fmla="val 10288029"/>
            <a:gd name="adj3" fmla="val 4637"/>
          </a:avLst>
        </a:prstGeom>
        <a:solidFill>
          <a:schemeClr val="accent4">
            <a:hueOff val="5197847"/>
            <a:satOff val="-23984"/>
            <a:lumOff val="883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BA8EBDC-5E0A-4AB8-92F0-4C56D569C0CC}">
      <dsp:nvSpPr>
        <dsp:cNvPr id="0" name=""/>
        <dsp:cNvSpPr/>
      </dsp:nvSpPr>
      <dsp:spPr>
        <a:xfrm>
          <a:off x="3113268" y="895895"/>
          <a:ext cx="4603906" cy="4603906"/>
        </a:xfrm>
        <a:prstGeom prst="blockArc">
          <a:avLst>
            <a:gd name="adj1" fmla="val 15901849"/>
            <a:gd name="adj2" fmla="val 21310772"/>
            <a:gd name="adj3" fmla="val 4637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84E14F8-A31F-4383-9AAA-1CBA5ED3B7A3}">
      <dsp:nvSpPr>
        <dsp:cNvPr id="0" name=""/>
        <dsp:cNvSpPr/>
      </dsp:nvSpPr>
      <dsp:spPr>
        <a:xfrm>
          <a:off x="4227288" y="1971992"/>
          <a:ext cx="2272659" cy="1920621"/>
        </a:xfrm>
        <a:prstGeom prst="ellipse">
          <a:avLst/>
        </a:prstGeom>
        <a:solidFill>
          <a:srgbClr val="7030A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600" b="1" kern="1200" smtClean="0">
              <a:latin typeface="+mn-lt"/>
              <a:ea typeface="+mn-ea"/>
              <a:cs typeface="+mn-cs"/>
            </a:rPr>
            <a:t>EVALUACIÓN PARA EL APRENDIZAJE</a:t>
          </a:r>
          <a:endParaRPr lang="es-PE" sz="1600" b="1" kern="1200" dirty="0">
            <a:latin typeface="+mn-lt"/>
            <a:ea typeface="+mn-ea"/>
            <a:cs typeface="+mn-cs"/>
          </a:endParaRPr>
        </a:p>
      </dsp:txBody>
      <dsp:txXfrm>
        <a:off x="4560111" y="2253260"/>
        <a:ext cx="1607013" cy="1358085"/>
      </dsp:txXfrm>
    </dsp:sp>
    <dsp:sp modelId="{D27CDEFC-DE19-454C-876A-4938DC1D912E}">
      <dsp:nvSpPr>
        <dsp:cNvPr id="0" name=""/>
        <dsp:cNvSpPr/>
      </dsp:nvSpPr>
      <dsp:spPr>
        <a:xfrm>
          <a:off x="4145615" y="55071"/>
          <a:ext cx="2066934" cy="1813341"/>
        </a:xfrm>
        <a:prstGeom prst="ellipse">
          <a:avLst/>
        </a:prstGeom>
        <a:solidFill>
          <a:srgbClr val="FFFF00"/>
        </a:solidFill>
        <a:ln w="25400" cap="flat" cmpd="sng" algn="ctr">
          <a:solidFill>
            <a:schemeClr val="accent2"/>
          </a:solidFill>
          <a:prstDash val="solid"/>
        </a:ln>
        <a:effectLst/>
      </dsp:spPr>
      <dsp:style>
        <a:lnRef idx="2">
          <a:schemeClr val="accent2"/>
        </a:lnRef>
        <a:fillRef idx="1">
          <a:schemeClr val="lt1"/>
        </a:fillRef>
        <a:effectRef idx="0">
          <a:schemeClr val="accent2"/>
        </a:effectRef>
        <a:fontRef idx="minor">
          <a:schemeClr val="dk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600" b="1" kern="1200" dirty="0" smtClean="0">
              <a:latin typeface="+mn-lt"/>
              <a:ea typeface="+mn-ea"/>
              <a:cs typeface="+mn-cs"/>
            </a:rPr>
            <a:t>¿Qué se espera que logre el estudiante?</a:t>
          </a:r>
          <a:endParaRPr lang="es-PE" sz="1600" b="1" kern="1200" dirty="0">
            <a:latin typeface="+mn-lt"/>
            <a:ea typeface="+mn-ea"/>
            <a:cs typeface="+mn-cs"/>
          </a:endParaRPr>
        </a:p>
      </dsp:txBody>
      <dsp:txXfrm>
        <a:off x="4448310" y="320629"/>
        <a:ext cx="1461544" cy="1282225"/>
      </dsp:txXfrm>
    </dsp:sp>
    <dsp:sp modelId="{FF06D125-0041-4254-979E-69D1E9B269F7}">
      <dsp:nvSpPr>
        <dsp:cNvPr id="0" name=""/>
        <dsp:cNvSpPr/>
      </dsp:nvSpPr>
      <dsp:spPr>
        <a:xfrm>
          <a:off x="6643778" y="2064872"/>
          <a:ext cx="2014026" cy="1783608"/>
        </a:xfrm>
        <a:prstGeom prst="ellipse">
          <a:avLst/>
        </a:prstGeom>
        <a:solidFill>
          <a:srgbClr val="00FFFF"/>
        </a:solidFill>
        <a:ln w="25400" cap="flat" cmpd="sng" algn="ctr">
          <a:solidFill>
            <a:schemeClr val="accent5"/>
          </a:solidFill>
          <a:prstDash val="solid"/>
        </a:ln>
        <a:effectLst/>
      </dsp:spPr>
      <dsp:style>
        <a:lnRef idx="2">
          <a:schemeClr val="accent5"/>
        </a:lnRef>
        <a:fillRef idx="1">
          <a:schemeClr val="lt1"/>
        </a:fillRef>
        <a:effectRef idx="0">
          <a:schemeClr val="accent5"/>
        </a:effectRef>
        <a:fontRef idx="minor">
          <a:schemeClr val="dk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s-PE" sz="1400" b="1" kern="1200" dirty="0" smtClean="0">
              <a:latin typeface="+mn-lt"/>
              <a:ea typeface="+mn-ea"/>
              <a:cs typeface="+mn-cs"/>
            </a:rPr>
            <a:t>¿Qué sabe hacer o qué ha aprendido el estudiante?</a:t>
          </a:r>
        </a:p>
      </dsp:txBody>
      <dsp:txXfrm>
        <a:off x="6938725" y="2326075"/>
        <a:ext cx="1424132" cy="1261202"/>
      </dsp:txXfrm>
    </dsp:sp>
    <dsp:sp modelId="{728E43BE-97A7-4C7F-9C67-FBB55299644B}">
      <dsp:nvSpPr>
        <dsp:cNvPr id="0" name=""/>
        <dsp:cNvSpPr/>
      </dsp:nvSpPr>
      <dsp:spPr>
        <a:xfrm>
          <a:off x="2105549" y="2179908"/>
          <a:ext cx="2153018" cy="1971444"/>
        </a:xfrm>
        <a:prstGeom prst="ellipse">
          <a:avLst/>
        </a:prstGeom>
        <a:solidFill>
          <a:srgbClr val="FFC000"/>
        </a:solidFill>
        <a:ln w="25400" cap="flat" cmpd="sng" algn="ctr">
          <a:solidFill>
            <a:schemeClr val="accent3"/>
          </a:solidFill>
          <a:prstDash val="solid"/>
        </a:ln>
        <a:effectLst/>
      </dsp:spPr>
      <dsp:style>
        <a:lnRef idx="2">
          <a:schemeClr val="accent3"/>
        </a:lnRef>
        <a:fillRef idx="1">
          <a:schemeClr val="lt1"/>
        </a:fillRef>
        <a:effectRef idx="0">
          <a:schemeClr val="accent3"/>
        </a:effectRef>
        <a:fontRef idx="minor">
          <a:schemeClr val="dk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s-PE" sz="1600" b="1" kern="1200" dirty="0" smtClean="0">
              <a:latin typeface="+mn-lt"/>
              <a:ea typeface="+mn-ea"/>
              <a:cs typeface="+mn-cs"/>
            </a:rPr>
            <a:t>¿Qué debe hacer para seguir aprendiendo?</a:t>
          </a:r>
          <a:endParaRPr lang="es-PE" sz="1600" b="1" kern="1200" dirty="0">
            <a:latin typeface="+mn-lt"/>
            <a:ea typeface="+mn-ea"/>
            <a:cs typeface="+mn-cs"/>
          </a:endParaRPr>
        </a:p>
      </dsp:txBody>
      <dsp:txXfrm>
        <a:off x="2420851" y="2468619"/>
        <a:ext cx="1522414" cy="139402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CD15DF0-E56B-4180-9655-F2717CD4F52B}">
      <dsp:nvSpPr>
        <dsp:cNvPr id="0" name=""/>
        <dsp:cNvSpPr/>
      </dsp:nvSpPr>
      <dsp:spPr>
        <a:xfrm>
          <a:off x="4113" y="1368469"/>
          <a:ext cx="2136782" cy="1068391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just" defTabSz="8890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s-ES" sz="2000" b="1" kern="1200" dirty="0" err="1" smtClean="0">
              <a:solidFill>
                <a:srgbClr val="FF0000"/>
              </a:solidFill>
            </a:rPr>
            <a:t>a</a:t>
          </a:r>
          <a:r>
            <a:rPr lang="es-PE" altLang="es-ES" sz="2000" b="1" kern="1200" dirty="0" err="1" smtClean="0">
              <a:solidFill>
                <a:srgbClr val="FF0000"/>
              </a:solidFill>
            </a:rPr>
            <a:t>) </a:t>
          </a:r>
          <a:r>
            <a:rPr lang="es-ES" sz="2000" b="1" kern="1200" dirty="0" err="1" smtClean="0">
              <a:solidFill>
                <a:srgbClr val="FF0000"/>
              </a:solidFill>
            </a:rPr>
            <a:t>¿Qué</a:t>
          </a:r>
          <a:r>
            <a:rPr lang="es-ES" sz="2000" b="1" kern="1200" dirty="0" smtClean="0">
              <a:solidFill>
                <a:srgbClr val="FF0000"/>
              </a:solidFill>
            </a:rPr>
            <a:t> se espera que logre el estudiante?</a:t>
          </a:r>
          <a:endParaRPr lang="es-ES" sz="2000" b="1" kern="1200" dirty="0">
            <a:solidFill>
              <a:srgbClr val="FF0000"/>
            </a:solidFill>
          </a:endParaRPr>
        </a:p>
      </dsp:txBody>
      <dsp:txXfrm>
        <a:off x="35405" y="1399761"/>
        <a:ext cx="2074198" cy="1005807"/>
      </dsp:txXfrm>
    </dsp:sp>
    <dsp:sp modelId="{AEF30701-9C48-4C88-8213-C9D249AEDC8F}">
      <dsp:nvSpPr>
        <dsp:cNvPr id="0" name=""/>
        <dsp:cNvSpPr/>
      </dsp:nvSpPr>
      <dsp:spPr>
        <a:xfrm>
          <a:off x="2140895" y="1877396"/>
          <a:ext cx="854713" cy="50537"/>
        </a:xfrm>
        <a:custGeom>
          <a:avLst/>
          <a:gdLst/>
          <a:ahLst/>
          <a:cxnLst/>
          <a:rect l="0" t="0" r="0" b="0"/>
          <a:pathLst>
            <a:path>
              <a:moveTo>
                <a:pt x="0" y="25268"/>
              </a:moveTo>
              <a:lnTo>
                <a:pt x="854713" y="25268"/>
              </a:lnTo>
            </a:path>
          </a:pathLst>
        </a:custGeom>
        <a:noFill/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500" kern="1200"/>
        </a:p>
      </dsp:txBody>
      <dsp:txXfrm>
        <a:off x="2546884" y="1881297"/>
        <a:ext cx="42735" cy="42735"/>
      </dsp:txXfrm>
    </dsp:sp>
    <dsp:sp modelId="{205A09EB-F4D8-4EEA-9590-F6B00ED337CC}">
      <dsp:nvSpPr>
        <dsp:cNvPr id="0" name=""/>
        <dsp:cNvSpPr/>
      </dsp:nvSpPr>
      <dsp:spPr>
        <a:xfrm>
          <a:off x="2995608" y="1368469"/>
          <a:ext cx="2136782" cy="1068391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s-ES" sz="2000" b="1" kern="1200" dirty="0" smtClean="0">
              <a:solidFill>
                <a:schemeClr val="tx1"/>
              </a:solidFill>
            </a:rPr>
            <a:t>Propósito de aprendizaje </a:t>
          </a:r>
        </a:p>
      </dsp:txBody>
      <dsp:txXfrm>
        <a:off x="3026900" y="1399761"/>
        <a:ext cx="2074198" cy="1005807"/>
      </dsp:txXfrm>
    </dsp:sp>
    <dsp:sp modelId="{E1E39C3A-35FB-4C79-BC7F-3CB36ED65C88}">
      <dsp:nvSpPr>
        <dsp:cNvPr id="0" name=""/>
        <dsp:cNvSpPr/>
      </dsp:nvSpPr>
      <dsp:spPr>
        <a:xfrm rot="18289469">
          <a:off x="4811397" y="1263071"/>
          <a:ext cx="1496701" cy="50537"/>
        </a:xfrm>
        <a:custGeom>
          <a:avLst/>
          <a:gdLst/>
          <a:ahLst/>
          <a:cxnLst/>
          <a:rect l="0" t="0" r="0" b="0"/>
          <a:pathLst>
            <a:path>
              <a:moveTo>
                <a:pt x="0" y="25268"/>
              </a:moveTo>
              <a:lnTo>
                <a:pt x="1496701" y="25268"/>
              </a:lnTo>
            </a:path>
          </a:pathLst>
        </a:cu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500" kern="1200"/>
        </a:p>
      </dsp:txBody>
      <dsp:txXfrm>
        <a:off x="5522330" y="1250922"/>
        <a:ext cx="74835" cy="74835"/>
      </dsp:txXfrm>
    </dsp:sp>
    <dsp:sp modelId="{8C77A817-EB15-422F-A1AC-05BC1E62FF8C}">
      <dsp:nvSpPr>
        <dsp:cNvPr id="0" name=""/>
        <dsp:cNvSpPr/>
      </dsp:nvSpPr>
      <dsp:spPr>
        <a:xfrm>
          <a:off x="5987104" y="139819"/>
          <a:ext cx="2136782" cy="1068391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b="1" kern="1200" dirty="0" smtClean="0">
              <a:solidFill>
                <a:srgbClr val="7030A0"/>
              </a:solidFill>
            </a:rPr>
            <a:t>Características del estudiante</a:t>
          </a:r>
          <a:endParaRPr lang="es-ES" sz="2000" b="1" kern="1200" dirty="0">
            <a:solidFill>
              <a:srgbClr val="7030A0"/>
            </a:solidFill>
          </a:endParaRPr>
        </a:p>
      </dsp:txBody>
      <dsp:txXfrm>
        <a:off x="6018396" y="171111"/>
        <a:ext cx="2074198" cy="1005807"/>
      </dsp:txXfrm>
    </dsp:sp>
    <dsp:sp modelId="{DD2DE460-E221-457A-A256-B5386A1137B9}">
      <dsp:nvSpPr>
        <dsp:cNvPr id="0" name=""/>
        <dsp:cNvSpPr/>
      </dsp:nvSpPr>
      <dsp:spPr>
        <a:xfrm>
          <a:off x="5132391" y="1877396"/>
          <a:ext cx="854713" cy="50537"/>
        </a:xfrm>
        <a:custGeom>
          <a:avLst/>
          <a:gdLst/>
          <a:ahLst/>
          <a:cxnLst/>
          <a:rect l="0" t="0" r="0" b="0"/>
          <a:pathLst>
            <a:path>
              <a:moveTo>
                <a:pt x="0" y="25268"/>
              </a:moveTo>
              <a:lnTo>
                <a:pt x="854713" y="25268"/>
              </a:lnTo>
            </a:path>
          </a:pathLst>
        </a:cu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500" kern="1200"/>
        </a:p>
      </dsp:txBody>
      <dsp:txXfrm>
        <a:off x="5538379" y="1881297"/>
        <a:ext cx="42735" cy="42735"/>
      </dsp:txXfrm>
    </dsp:sp>
    <dsp:sp modelId="{80194284-941F-4EF0-BA0C-D574788390F8}">
      <dsp:nvSpPr>
        <dsp:cNvPr id="0" name=""/>
        <dsp:cNvSpPr/>
      </dsp:nvSpPr>
      <dsp:spPr>
        <a:xfrm>
          <a:off x="5987104" y="1368469"/>
          <a:ext cx="2136782" cy="1068391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b="1" kern="1200" dirty="0" smtClean="0">
              <a:solidFill>
                <a:srgbClr val="7030A0"/>
              </a:solidFill>
            </a:rPr>
            <a:t>Comprensión del desarrollo de la competencia </a:t>
          </a:r>
          <a:endParaRPr lang="es-ES" sz="2000" b="1" kern="1200" dirty="0">
            <a:solidFill>
              <a:srgbClr val="7030A0"/>
            </a:solidFill>
          </a:endParaRPr>
        </a:p>
      </dsp:txBody>
      <dsp:txXfrm>
        <a:off x="6018396" y="1399761"/>
        <a:ext cx="2074198" cy="1005807"/>
      </dsp:txXfrm>
    </dsp:sp>
    <dsp:sp modelId="{12F49B66-5077-4F3A-91DE-EBA61FE5E267}">
      <dsp:nvSpPr>
        <dsp:cNvPr id="0" name=""/>
        <dsp:cNvSpPr/>
      </dsp:nvSpPr>
      <dsp:spPr>
        <a:xfrm rot="3310531">
          <a:off x="4811397" y="2491721"/>
          <a:ext cx="1496701" cy="50537"/>
        </a:xfrm>
        <a:custGeom>
          <a:avLst/>
          <a:gdLst/>
          <a:ahLst/>
          <a:cxnLst/>
          <a:rect l="0" t="0" r="0" b="0"/>
          <a:pathLst>
            <a:path>
              <a:moveTo>
                <a:pt x="0" y="25268"/>
              </a:moveTo>
              <a:lnTo>
                <a:pt x="1496701" y="25268"/>
              </a:lnTo>
            </a:path>
          </a:pathLst>
        </a:custGeom>
        <a:noFill/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>
            <a:rot lat="0" lon="0" rev="7500000"/>
          </a:lightRig>
        </a:scene3d>
        <a:sp3d z="-40000" prstMaterial="matte"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500" kern="1200"/>
        </a:p>
      </dsp:txBody>
      <dsp:txXfrm>
        <a:off x="5522330" y="2479572"/>
        <a:ext cx="74835" cy="74835"/>
      </dsp:txXfrm>
    </dsp:sp>
    <dsp:sp modelId="{6F138B29-21F1-4E80-A3E1-2769851F498F}">
      <dsp:nvSpPr>
        <dsp:cNvPr id="0" name=""/>
        <dsp:cNvSpPr/>
      </dsp:nvSpPr>
      <dsp:spPr>
        <a:xfrm>
          <a:off x="5987104" y="2597119"/>
          <a:ext cx="2136782" cy="1068391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b="1" kern="1200" dirty="0" smtClean="0">
              <a:solidFill>
                <a:srgbClr val="7030A0"/>
              </a:solidFill>
            </a:rPr>
            <a:t>Situación a afrontar</a:t>
          </a:r>
          <a:endParaRPr lang="es-ES" sz="2000" b="1" kern="1200" dirty="0">
            <a:solidFill>
              <a:srgbClr val="7030A0"/>
            </a:solidFill>
          </a:endParaRPr>
        </a:p>
      </dsp:txBody>
      <dsp:txXfrm>
        <a:off x="6018396" y="2628411"/>
        <a:ext cx="2074198" cy="1005807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38446B1-1570-4120-83A3-957EC84371EA}">
      <dsp:nvSpPr>
        <dsp:cNvPr id="0" name=""/>
        <dsp:cNvSpPr/>
      </dsp:nvSpPr>
      <dsp:spPr>
        <a:xfrm>
          <a:off x="148653" y="0"/>
          <a:ext cx="8076677" cy="5106608"/>
        </a:xfrm>
        <a:prstGeom prst="rightArrow">
          <a:avLst/>
        </a:prstGeom>
        <a:gradFill rotWithShape="0">
          <a:gsLst>
            <a:gs pos="83000">
              <a:schemeClr val="accent2">
                <a:lumMod val="60000"/>
                <a:lumOff val="40000"/>
              </a:schemeClr>
            </a:gs>
            <a:gs pos="100000">
              <a:schemeClr val="accent4">
                <a:tint val="4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16200000" scaled="0"/>
        </a:gra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z="-152400" extrusionH="63500" prstMaterial="matte">
          <a:bevelT w="14445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3">
          <a:scrgbClr r="0" g="0" b="0"/>
        </a:fillRef>
        <a:effectRef idx="0">
          <a:scrgbClr r="0" g="0" b="0"/>
        </a:effectRef>
        <a:fontRef idx="minor"/>
      </dsp:style>
    </dsp:sp>
    <dsp:sp modelId="{A10D43D7-3E00-4206-86CF-0D3693B1D2D0}">
      <dsp:nvSpPr>
        <dsp:cNvPr id="0" name=""/>
        <dsp:cNvSpPr/>
      </dsp:nvSpPr>
      <dsp:spPr>
        <a:xfrm>
          <a:off x="1014" y="1776752"/>
          <a:ext cx="2886723" cy="1553103"/>
        </a:xfrm>
        <a:prstGeom prst="round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400" b="1" kern="1200" dirty="0" err="1" smtClean="0">
              <a:solidFill>
                <a:srgbClr val="FF0000"/>
              </a:solidFill>
            </a:rPr>
            <a:t>b.¿Qué</a:t>
          </a:r>
          <a:r>
            <a:rPr lang="es-ES" sz="2400" b="1" kern="1200" dirty="0" smtClean="0">
              <a:solidFill>
                <a:srgbClr val="FF0000"/>
              </a:solidFill>
            </a:rPr>
            <a:t> sabe hacer o qué ha aprendido el estudiante?</a:t>
          </a:r>
          <a:endParaRPr lang="es-ES" sz="2400" b="1" kern="1200" dirty="0">
            <a:solidFill>
              <a:srgbClr val="FF0000"/>
            </a:solidFill>
          </a:endParaRPr>
        </a:p>
      </dsp:txBody>
      <dsp:txXfrm>
        <a:off x="76830" y="1852568"/>
        <a:ext cx="2735091" cy="1401471"/>
      </dsp:txXfrm>
    </dsp:sp>
    <dsp:sp modelId="{12063AE7-6C43-4230-BA79-94113188612C}">
      <dsp:nvSpPr>
        <dsp:cNvPr id="0" name=""/>
        <dsp:cNvSpPr/>
      </dsp:nvSpPr>
      <dsp:spPr>
        <a:xfrm>
          <a:off x="3307624" y="1719588"/>
          <a:ext cx="2886723" cy="1667430"/>
        </a:xfrm>
        <a:prstGeom prst="roundRect">
          <a:avLst/>
        </a:prstGeom>
        <a:gradFill rotWithShape="0">
          <a:gsLst>
            <a:gs pos="0">
              <a:schemeClr val="accent6">
                <a:lumMod val="75000"/>
              </a:schemeClr>
            </a:gs>
            <a:gs pos="100000">
              <a:schemeClr val="accent4">
                <a:hueOff val="5197846"/>
                <a:satOff val="-23981"/>
                <a:lumOff val="883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hueOff val="5197846"/>
                <a:satOff val="-23981"/>
                <a:lumOff val="883"/>
                <a:alphaOff val="0"/>
                <a:lumMod val="99000"/>
                <a:satMod val="120000"/>
                <a:shade val="78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400" kern="1200" dirty="0" smtClean="0"/>
            <a:t>Evidencias de Aprendizaje</a:t>
          </a:r>
          <a:endParaRPr lang="es-ES" sz="2400" kern="1200" dirty="0"/>
        </a:p>
      </dsp:txBody>
      <dsp:txXfrm>
        <a:off x="3389021" y="1800985"/>
        <a:ext cx="2723929" cy="1504636"/>
      </dsp:txXfrm>
    </dsp:sp>
    <dsp:sp modelId="{F59393B5-70AB-44A6-AD6B-2DB869D991D0}">
      <dsp:nvSpPr>
        <dsp:cNvPr id="0" name=""/>
        <dsp:cNvSpPr/>
      </dsp:nvSpPr>
      <dsp:spPr>
        <a:xfrm>
          <a:off x="6614235" y="1841238"/>
          <a:ext cx="2886723" cy="1424130"/>
        </a:xfrm>
        <a:prstGeom prst="roundRect">
          <a:avLst/>
        </a:prstGeom>
        <a:gradFill rotWithShape="0">
          <a:gsLst>
            <a:gs pos="0">
              <a:schemeClr val="accent1">
                <a:lumMod val="60000"/>
                <a:lumOff val="40000"/>
              </a:schemeClr>
            </a:gs>
            <a:gs pos="0">
              <a:schemeClr val="accent1"/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400" b="1" kern="1200" dirty="0" smtClean="0">
              <a:solidFill>
                <a:srgbClr val="7030A0"/>
              </a:solidFill>
            </a:rPr>
            <a:t>Nivel de logro que alcanzó en la competencia</a:t>
          </a:r>
          <a:endParaRPr lang="es-ES" sz="2400" b="1" kern="1200" dirty="0">
            <a:solidFill>
              <a:srgbClr val="7030A0"/>
            </a:solidFill>
          </a:endParaRPr>
        </a:p>
      </dsp:txBody>
      <dsp:txXfrm>
        <a:off x="6683755" y="1910758"/>
        <a:ext cx="2747683" cy="128509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8DB45C3-5062-459F-A59F-40F9D9412C16}">
      <dsp:nvSpPr>
        <dsp:cNvPr id="0" name=""/>
        <dsp:cNvSpPr/>
      </dsp:nvSpPr>
      <dsp:spPr>
        <a:xfrm>
          <a:off x="2432458" y="714348"/>
          <a:ext cx="3645428" cy="3473178"/>
        </a:xfrm>
        <a:prstGeom prst="gear9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400" b="1" kern="1200" dirty="0" smtClean="0">
              <a:solidFill>
                <a:srgbClr val="FF0000"/>
              </a:solidFill>
            </a:rPr>
            <a:t>c. ¿Qué debe hacer para seguir aprendiendo?</a:t>
          </a:r>
          <a:endParaRPr lang="es-ES" sz="2400" b="1" kern="1200" dirty="0">
            <a:solidFill>
              <a:srgbClr val="FF0000"/>
            </a:solidFill>
          </a:endParaRPr>
        </a:p>
      </dsp:txBody>
      <dsp:txXfrm>
        <a:off x="3152477" y="1527923"/>
        <a:ext cx="2205390" cy="1785286"/>
      </dsp:txXfrm>
    </dsp:sp>
    <dsp:sp modelId="{389E8F03-FDA8-4AD2-B5D3-F1EF42A91A00}">
      <dsp:nvSpPr>
        <dsp:cNvPr id="0" name=""/>
        <dsp:cNvSpPr/>
      </dsp:nvSpPr>
      <dsp:spPr>
        <a:xfrm>
          <a:off x="5503818" y="2238438"/>
          <a:ext cx="3109089" cy="2802190"/>
        </a:xfrm>
        <a:prstGeom prst="gear6">
          <a:avLst/>
        </a:prstGeom>
        <a:gradFill rotWithShape="0">
          <a:gsLst>
            <a:gs pos="0">
              <a:schemeClr val="accent6">
                <a:lumMod val="60000"/>
                <a:lumOff val="40000"/>
              </a:schemeClr>
            </a:gs>
            <a:gs pos="0">
              <a:srgbClr val="92D050"/>
            </a:gs>
            <a:gs pos="100000">
              <a:schemeClr val="accent4">
                <a:hueOff val="5197846"/>
                <a:satOff val="-23982"/>
                <a:lumOff val="883"/>
                <a:alphaOff val="0"/>
                <a:lumMod val="99000"/>
                <a:satMod val="120000"/>
                <a:shade val="78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s-ES" sz="2000" kern="1200" dirty="0" smtClean="0">
              <a:solidFill>
                <a:schemeClr val="tx1"/>
              </a:solidFill>
            </a:rPr>
            <a:t>Retroalimentación</a:t>
          </a:r>
        </a:p>
      </dsp:txBody>
      <dsp:txXfrm>
        <a:off x="6253889" y="2948162"/>
        <a:ext cx="1608947" cy="1382742"/>
      </dsp:txXfrm>
    </dsp:sp>
    <dsp:sp modelId="{1FC28AE7-675D-4CC1-8976-FCD899AAFF81}">
      <dsp:nvSpPr>
        <dsp:cNvPr id="0" name=""/>
        <dsp:cNvSpPr/>
      </dsp:nvSpPr>
      <dsp:spPr>
        <a:xfrm rot="13374619">
          <a:off x="1754742" y="309246"/>
          <a:ext cx="4151007" cy="4151007"/>
        </a:xfrm>
        <a:prstGeom prst="circularArrow">
          <a:avLst>
            <a:gd name="adj1" fmla="val 4878"/>
            <a:gd name="adj2" fmla="val 312630"/>
            <a:gd name="adj3" fmla="val 3264073"/>
            <a:gd name="adj4" fmla="val 15063686"/>
            <a:gd name="adj5" fmla="val 5691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DE7535F4-F8BA-416F-8B9C-9E5897FC41A9}">
      <dsp:nvSpPr>
        <dsp:cNvPr id="0" name=""/>
        <dsp:cNvSpPr/>
      </dsp:nvSpPr>
      <dsp:spPr>
        <a:xfrm rot="8366687">
          <a:off x="5867398" y="1729401"/>
          <a:ext cx="3138566" cy="3138566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6">
            <a:lumMod val="75000"/>
          </a:schemeClr>
        </a:soli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z="-70000" extrusionH="63500" prstMaterial="matte">
          <a:bevelT w="25400" h="6350" prst="relaxedInset"/>
          <a:contourClr>
            <a:schemeClr val="bg1"/>
          </a:contourClr>
        </a:sp3d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9FDE50D-9DE0-47E3-8EB5-D7FD878FCD9D}">
      <dsp:nvSpPr>
        <dsp:cNvPr id="0" name=""/>
        <dsp:cNvSpPr/>
      </dsp:nvSpPr>
      <dsp:spPr>
        <a:xfrm rot="5400000">
          <a:off x="645207" y="528858"/>
          <a:ext cx="912566" cy="1518489"/>
        </a:xfrm>
        <a:prstGeom prst="corner">
          <a:avLst>
            <a:gd name="adj1" fmla="val 16120"/>
            <a:gd name="adj2" fmla="val 1611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E40858A-6F0E-48CD-B2DF-10B083C136CA}">
      <dsp:nvSpPr>
        <dsp:cNvPr id="0" name=""/>
        <dsp:cNvSpPr/>
      </dsp:nvSpPr>
      <dsp:spPr>
        <a:xfrm>
          <a:off x="492877" y="982559"/>
          <a:ext cx="1370901" cy="12016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200" kern="1200" dirty="0" smtClean="0"/>
            <a:t>Avances, dificultades y aquello que puede mejorar el estudiante.</a:t>
          </a:r>
          <a:endParaRPr lang="es-ES" sz="1200" kern="1200" dirty="0"/>
        </a:p>
      </dsp:txBody>
      <dsp:txXfrm>
        <a:off x="492877" y="982559"/>
        <a:ext cx="1370901" cy="1201675"/>
      </dsp:txXfrm>
    </dsp:sp>
    <dsp:sp modelId="{32F0D408-E9D7-43D4-A668-9F774C73F08B}">
      <dsp:nvSpPr>
        <dsp:cNvPr id="0" name=""/>
        <dsp:cNvSpPr/>
      </dsp:nvSpPr>
      <dsp:spPr>
        <a:xfrm>
          <a:off x="1605118" y="417065"/>
          <a:ext cx="258660" cy="258660"/>
        </a:xfrm>
        <a:prstGeom prst="triangle">
          <a:avLst>
            <a:gd name="adj" fmla="val 10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C853CF6-A2DE-4F68-B0C6-DBD247EBC401}">
      <dsp:nvSpPr>
        <dsp:cNvPr id="0" name=""/>
        <dsp:cNvSpPr/>
      </dsp:nvSpPr>
      <dsp:spPr>
        <a:xfrm rot="5400000">
          <a:off x="2323458" y="113573"/>
          <a:ext cx="912566" cy="1518489"/>
        </a:xfrm>
        <a:prstGeom prst="corner">
          <a:avLst>
            <a:gd name="adj1" fmla="val 16120"/>
            <a:gd name="adj2" fmla="val 1611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1AC4B57-78E1-4452-B0B0-2A3348BCDDA8}">
      <dsp:nvSpPr>
        <dsp:cNvPr id="0" name=""/>
        <dsp:cNvSpPr/>
      </dsp:nvSpPr>
      <dsp:spPr>
        <a:xfrm>
          <a:off x="2171128" y="567274"/>
          <a:ext cx="1370901" cy="12016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200" kern="1200" dirty="0" smtClean="0"/>
            <a:t>No se restringe a momentos específicos.</a:t>
          </a:r>
          <a:endParaRPr lang="es-ES" sz="1200" kern="1200" dirty="0"/>
        </a:p>
      </dsp:txBody>
      <dsp:txXfrm>
        <a:off x="2171128" y="567274"/>
        <a:ext cx="1370901" cy="1201675"/>
      </dsp:txXfrm>
    </dsp:sp>
    <dsp:sp modelId="{FCDCFE56-9DF8-4EAE-B8C4-08AE46B264E1}">
      <dsp:nvSpPr>
        <dsp:cNvPr id="0" name=""/>
        <dsp:cNvSpPr/>
      </dsp:nvSpPr>
      <dsp:spPr>
        <a:xfrm>
          <a:off x="3283368" y="1780"/>
          <a:ext cx="258660" cy="258660"/>
        </a:xfrm>
        <a:prstGeom prst="triangle">
          <a:avLst>
            <a:gd name="adj" fmla="val 10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35E1A11-0067-4EE4-9056-9235220E862F}">
      <dsp:nvSpPr>
        <dsp:cNvPr id="0" name=""/>
        <dsp:cNvSpPr/>
      </dsp:nvSpPr>
      <dsp:spPr>
        <a:xfrm rot="5400000">
          <a:off x="4001709" y="-301711"/>
          <a:ext cx="912566" cy="1518489"/>
        </a:xfrm>
        <a:prstGeom prst="corner">
          <a:avLst>
            <a:gd name="adj1" fmla="val 16120"/>
            <a:gd name="adj2" fmla="val 1611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63EBAAC-79EC-42DC-8063-6A9BDDB9D2E4}">
      <dsp:nvSpPr>
        <dsp:cNvPr id="0" name=""/>
        <dsp:cNvSpPr/>
      </dsp:nvSpPr>
      <dsp:spPr>
        <a:xfrm>
          <a:off x="3849379" y="151989"/>
          <a:ext cx="1370901" cy="12016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t" anchorCtr="0">
          <a:noAutofit/>
        </a:bodyPr>
        <a:lstStyle/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200" kern="1200" dirty="0" smtClean="0"/>
            <a:t>El docente evalúa la efectividad de sus estrategias de enseñanza y las ajusta para atender mejor. </a:t>
          </a:r>
          <a:endParaRPr lang="es-ES" sz="1200" kern="1200" dirty="0"/>
        </a:p>
      </dsp:txBody>
      <dsp:txXfrm>
        <a:off x="3849379" y="151989"/>
        <a:ext cx="1370901" cy="1201675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2BA1D37-4758-4BB3-AEE6-420F7D02B8B0}">
      <dsp:nvSpPr>
        <dsp:cNvPr id="0" name=""/>
        <dsp:cNvSpPr/>
      </dsp:nvSpPr>
      <dsp:spPr>
        <a:xfrm>
          <a:off x="-6126981" y="-937410"/>
          <a:ext cx="7293488" cy="7293488"/>
        </a:xfrm>
        <a:prstGeom prst="blockArc">
          <a:avLst>
            <a:gd name="adj1" fmla="val 18900000"/>
            <a:gd name="adj2" fmla="val 2700000"/>
            <a:gd name="adj3" fmla="val 296"/>
          </a:avLst>
        </a:prstGeom>
        <a:noFill/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02B67A1-6732-4E66-AC1C-33D42B81D4F8}">
      <dsp:nvSpPr>
        <dsp:cNvPr id="0" name=""/>
        <dsp:cNvSpPr/>
      </dsp:nvSpPr>
      <dsp:spPr>
        <a:xfrm>
          <a:off x="610504" y="416587"/>
          <a:ext cx="7440913" cy="833607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61676" tIns="66040" rIns="66040" bIns="6604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600" kern="1200" dirty="0" smtClean="0">
              <a:solidFill>
                <a:srgbClr val="002060"/>
              </a:solidFill>
            </a:rPr>
            <a:t>Organizar el monitoreo a los estudiantes.</a:t>
          </a:r>
          <a:endParaRPr lang="es-ES" sz="2600" kern="1200" dirty="0">
            <a:solidFill>
              <a:srgbClr val="002060"/>
            </a:solidFill>
          </a:endParaRPr>
        </a:p>
      </dsp:txBody>
      <dsp:txXfrm>
        <a:off x="610504" y="416587"/>
        <a:ext cx="7440913" cy="833607"/>
      </dsp:txXfrm>
    </dsp:sp>
    <dsp:sp modelId="{52FD2097-3E44-495B-9B92-4A88952DBEB6}">
      <dsp:nvSpPr>
        <dsp:cNvPr id="0" name=""/>
        <dsp:cNvSpPr/>
      </dsp:nvSpPr>
      <dsp:spPr>
        <a:xfrm>
          <a:off x="89500" y="312386"/>
          <a:ext cx="1042009" cy="104200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AF9817B-25FB-41DC-A3C4-B0403299EF42}">
      <dsp:nvSpPr>
        <dsp:cNvPr id="0" name=""/>
        <dsp:cNvSpPr/>
      </dsp:nvSpPr>
      <dsp:spPr>
        <a:xfrm>
          <a:off x="1088431" y="1667215"/>
          <a:ext cx="6962986" cy="833607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61676" tIns="66040" rIns="66040" bIns="6604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600" kern="1200" dirty="0" smtClean="0">
              <a:solidFill>
                <a:srgbClr val="FFFF00"/>
              </a:solidFill>
            </a:rPr>
            <a:t>Fomentar entre los estudiantes el uso del portafolio.</a:t>
          </a:r>
          <a:endParaRPr lang="es-ES" sz="2600" kern="1200" dirty="0">
            <a:solidFill>
              <a:srgbClr val="FFFF00"/>
            </a:solidFill>
          </a:endParaRPr>
        </a:p>
      </dsp:txBody>
      <dsp:txXfrm>
        <a:off x="1088431" y="1667215"/>
        <a:ext cx="6962986" cy="833607"/>
      </dsp:txXfrm>
    </dsp:sp>
    <dsp:sp modelId="{B669A32A-3AEC-4B79-929E-CBB276A36F94}">
      <dsp:nvSpPr>
        <dsp:cNvPr id="0" name=""/>
        <dsp:cNvSpPr/>
      </dsp:nvSpPr>
      <dsp:spPr>
        <a:xfrm>
          <a:off x="558881" y="1547686"/>
          <a:ext cx="1042009" cy="104200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FA833B8-A250-4AD8-9A43-DA766850FDDC}">
      <dsp:nvSpPr>
        <dsp:cNvPr id="0" name=""/>
        <dsp:cNvSpPr/>
      </dsp:nvSpPr>
      <dsp:spPr>
        <a:xfrm>
          <a:off x="1088431" y="2917843"/>
          <a:ext cx="6962986" cy="833607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61676" tIns="66040" rIns="66040" bIns="6604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600" kern="1200" dirty="0" smtClean="0">
              <a:solidFill>
                <a:srgbClr val="002060"/>
              </a:solidFill>
            </a:rPr>
            <a:t>Escoger y explorar los aplicativos que van a usar para monitorear.</a:t>
          </a:r>
          <a:endParaRPr lang="es-ES" sz="2600" kern="1200" dirty="0">
            <a:solidFill>
              <a:srgbClr val="002060"/>
            </a:solidFill>
          </a:endParaRPr>
        </a:p>
      </dsp:txBody>
      <dsp:txXfrm>
        <a:off x="1088431" y="2917843"/>
        <a:ext cx="6962986" cy="833607"/>
      </dsp:txXfrm>
    </dsp:sp>
    <dsp:sp modelId="{3B8DE413-9151-4D78-8FBC-151536B5CAB3}">
      <dsp:nvSpPr>
        <dsp:cNvPr id="0" name=""/>
        <dsp:cNvSpPr/>
      </dsp:nvSpPr>
      <dsp:spPr>
        <a:xfrm>
          <a:off x="567426" y="2813642"/>
          <a:ext cx="1042009" cy="104200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A1BBDE3-EE17-4969-AF26-2F44574D7548}">
      <dsp:nvSpPr>
        <dsp:cNvPr id="0" name=""/>
        <dsp:cNvSpPr/>
      </dsp:nvSpPr>
      <dsp:spPr>
        <a:xfrm>
          <a:off x="610504" y="4168472"/>
          <a:ext cx="7440913" cy="833607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61676" tIns="66040" rIns="66040" bIns="6604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600" kern="1200" dirty="0" smtClean="0">
              <a:solidFill>
                <a:srgbClr val="FFFF00"/>
              </a:solidFill>
            </a:rPr>
            <a:t>Escuchar, evaluar y retroalimentar de manera formativa.</a:t>
          </a:r>
          <a:endParaRPr lang="es-ES" sz="2600" kern="1200" dirty="0">
            <a:solidFill>
              <a:srgbClr val="FFFF00"/>
            </a:solidFill>
          </a:endParaRPr>
        </a:p>
      </dsp:txBody>
      <dsp:txXfrm>
        <a:off x="610504" y="4168472"/>
        <a:ext cx="7440913" cy="833607"/>
      </dsp:txXfrm>
    </dsp:sp>
    <dsp:sp modelId="{4A4E8804-9C93-41AA-A776-59BF815907A4}">
      <dsp:nvSpPr>
        <dsp:cNvPr id="0" name=""/>
        <dsp:cNvSpPr/>
      </dsp:nvSpPr>
      <dsp:spPr>
        <a:xfrm>
          <a:off x="89500" y="4064271"/>
          <a:ext cx="1042009" cy="104200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5928A6C-917C-4422-8B0C-B384910AB9BE}">
      <dsp:nvSpPr>
        <dsp:cNvPr id="0" name=""/>
        <dsp:cNvSpPr/>
      </dsp:nvSpPr>
      <dsp:spPr>
        <a:xfrm>
          <a:off x="744622" y="0"/>
          <a:ext cx="6638755" cy="4149222"/>
        </a:xfrm>
        <a:prstGeom prst="swooshArrow">
          <a:avLst>
            <a:gd name="adj1" fmla="val 25000"/>
            <a:gd name="adj2" fmla="val 25000"/>
          </a:avLst>
        </a:prstGeom>
        <a:solidFill>
          <a:srgbClr val="FFFF0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DA778E0-914A-4014-A757-C161C4F12353}">
      <dsp:nvSpPr>
        <dsp:cNvPr id="0" name=""/>
        <dsp:cNvSpPr/>
      </dsp:nvSpPr>
      <dsp:spPr>
        <a:xfrm>
          <a:off x="1398539" y="3085361"/>
          <a:ext cx="152691" cy="152691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6BC585F-842E-44EB-981C-8F0C5A17426C}">
      <dsp:nvSpPr>
        <dsp:cNvPr id="0" name=""/>
        <dsp:cNvSpPr/>
      </dsp:nvSpPr>
      <dsp:spPr>
        <a:xfrm>
          <a:off x="1474885" y="3161707"/>
          <a:ext cx="1135227" cy="98751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908" tIns="0" rIns="0" bIns="0" numCol="1" spcCol="1270" anchor="t" anchorCtr="0">
          <a:noAutofit/>
        </a:bodyPr>
        <a:lstStyle/>
        <a:p>
          <a:pPr lvl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s-ES" sz="1800" kern="1200" dirty="0" smtClean="0"/>
            <a:t>Cla</a:t>
          </a:r>
          <a:r>
            <a:rPr lang="es-PE" altLang="es-ES" sz="1800" kern="1200" dirty="0" smtClean="0"/>
            <a:t>r</a:t>
          </a:r>
          <a:r>
            <a:rPr lang="es-ES" sz="1800" kern="1200" dirty="0" smtClean="0"/>
            <a:t>ificar</a:t>
          </a:r>
          <a:endParaRPr lang="es-ES" sz="1800" kern="1200" dirty="0"/>
        </a:p>
      </dsp:txBody>
      <dsp:txXfrm>
        <a:off x="1474885" y="3161707"/>
        <a:ext cx="1135227" cy="987514"/>
      </dsp:txXfrm>
    </dsp:sp>
    <dsp:sp modelId="{42B61A1A-7B2A-46FF-982C-96AF72E27836}">
      <dsp:nvSpPr>
        <dsp:cNvPr id="0" name=""/>
        <dsp:cNvSpPr/>
      </dsp:nvSpPr>
      <dsp:spPr>
        <a:xfrm>
          <a:off x="2477337" y="2120252"/>
          <a:ext cx="265550" cy="265550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A5DB67D-7F34-4B8D-B4A5-CDF7CC9F7D24}">
      <dsp:nvSpPr>
        <dsp:cNvPr id="0" name=""/>
        <dsp:cNvSpPr/>
      </dsp:nvSpPr>
      <dsp:spPr>
        <a:xfrm>
          <a:off x="4235134" y="1650170"/>
          <a:ext cx="1394138" cy="18961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0710" tIns="0" rIns="0" bIns="0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800" kern="1200" dirty="0" smtClean="0"/>
            <a:t>Expresar inquietudes</a:t>
          </a:r>
          <a:endParaRPr lang="es-ES" sz="1800" kern="1200" dirty="0"/>
        </a:p>
      </dsp:txBody>
      <dsp:txXfrm>
        <a:off x="4235134" y="1650170"/>
        <a:ext cx="1394138" cy="1896194"/>
      </dsp:txXfrm>
    </dsp:sp>
    <dsp:sp modelId="{6D2946AD-7A2E-4586-B41B-7ED1FF4C11BD}">
      <dsp:nvSpPr>
        <dsp:cNvPr id="0" name=""/>
        <dsp:cNvSpPr/>
      </dsp:nvSpPr>
      <dsp:spPr>
        <a:xfrm>
          <a:off x="3874333" y="1388875"/>
          <a:ext cx="351854" cy="35185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6C7210D-AD82-4B1A-B48E-C14612387AEF}">
      <dsp:nvSpPr>
        <dsp:cNvPr id="0" name=""/>
        <dsp:cNvSpPr/>
      </dsp:nvSpPr>
      <dsp:spPr>
        <a:xfrm>
          <a:off x="2698664" y="2565778"/>
          <a:ext cx="1146902" cy="131029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6440" tIns="0" rIns="0" bIns="0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800" kern="1200" dirty="0" smtClean="0"/>
            <a:t>Valorar</a:t>
          </a:r>
          <a:endParaRPr lang="es-ES" sz="1800" kern="1200" dirty="0"/>
        </a:p>
      </dsp:txBody>
      <dsp:txXfrm>
        <a:off x="2698664" y="2565778"/>
        <a:ext cx="1146902" cy="1310290"/>
      </dsp:txXfrm>
    </dsp:sp>
    <dsp:sp modelId="{94A5E327-9756-407D-A884-C3DD31453411}">
      <dsp:nvSpPr>
        <dsp:cNvPr id="0" name=""/>
        <dsp:cNvSpPr/>
      </dsp:nvSpPr>
      <dsp:spPr>
        <a:xfrm>
          <a:off x="5355237" y="938554"/>
          <a:ext cx="471351" cy="471351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190918A-6806-4110-95E3-94A3A1252364}">
      <dsp:nvSpPr>
        <dsp:cNvPr id="0" name=""/>
        <dsp:cNvSpPr/>
      </dsp:nvSpPr>
      <dsp:spPr>
        <a:xfrm>
          <a:off x="5590913" y="1174229"/>
          <a:ext cx="1394138" cy="297499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9759" tIns="0" rIns="0" bIns="0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800" kern="1200" dirty="0" smtClean="0"/>
            <a:t>Hacer sugerencia</a:t>
          </a:r>
          <a:endParaRPr lang="es-ES" sz="1800" kern="1200" dirty="0"/>
        </a:p>
      </dsp:txBody>
      <dsp:txXfrm>
        <a:off x="5590913" y="1174229"/>
        <a:ext cx="1394138" cy="2974992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956A8EF-23AB-4E1C-91C1-D315D8386457}">
      <dsp:nvSpPr>
        <dsp:cNvPr id="0" name=""/>
        <dsp:cNvSpPr/>
      </dsp:nvSpPr>
      <dsp:spPr>
        <a:xfrm>
          <a:off x="0" y="0"/>
          <a:ext cx="7925149" cy="1515808"/>
        </a:xfrm>
        <a:prstGeom prst="roundRect">
          <a:avLst>
            <a:gd name="adj" fmla="val 1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lvl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300" kern="1200" dirty="0" smtClean="0"/>
            <a:t>Realizar preguntas acerca de los aspectos que son poco definidos, sobre información que no esta presente antes de la retroalimentación </a:t>
          </a:r>
          <a:endParaRPr lang="es-ES" sz="2300" kern="1200" dirty="0"/>
        </a:p>
      </dsp:txBody>
      <dsp:txXfrm>
        <a:off x="44397" y="44397"/>
        <a:ext cx="6289472" cy="1427014"/>
      </dsp:txXfrm>
    </dsp:sp>
    <dsp:sp modelId="{4A008234-94AB-455E-8CDF-85C2AC401B8C}">
      <dsp:nvSpPr>
        <dsp:cNvPr id="0" name=""/>
        <dsp:cNvSpPr/>
      </dsp:nvSpPr>
      <dsp:spPr>
        <a:xfrm>
          <a:off x="699277" y="1768443"/>
          <a:ext cx="7925149" cy="1515808"/>
        </a:xfrm>
        <a:prstGeom prst="roundRect">
          <a:avLst>
            <a:gd name="adj" fmla="val 10000"/>
          </a:avLst>
        </a:prstGeom>
        <a:solidFill>
          <a:schemeClr val="accent4">
            <a:hueOff val="5197847"/>
            <a:satOff val="-23984"/>
            <a:lumOff val="88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lvl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300" kern="1200" dirty="0" smtClean="0"/>
            <a:t>A través de las preguntas, comprender las ideas que comparten los estudiantes sobre su trabajo </a:t>
          </a:r>
          <a:endParaRPr lang="es-ES" sz="2300" kern="1200" dirty="0"/>
        </a:p>
      </dsp:txBody>
      <dsp:txXfrm>
        <a:off x="743674" y="1812840"/>
        <a:ext cx="6151801" cy="1427014"/>
      </dsp:txXfrm>
    </dsp:sp>
    <dsp:sp modelId="{4F33AB7C-2934-4BEB-B3B8-4A6D8B1C0FBC}">
      <dsp:nvSpPr>
        <dsp:cNvPr id="0" name=""/>
        <dsp:cNvSpPr/>
      </dsp:nvSpPr>
      <dsp:spPr>
        <a:xfrm>
          <a:off x="1398555" y="3536886"/>
          <a:ext cx="7925149" cy="1515808"/>
        </a:xfrm>
        <a:prstGeom prst="roundRect">
          <a:avLst>
            <a:gd name="adj" fmla="val 10000"/>
          </a:avLst>
        </a:prstGeom>
        <a:solidFill>
          <a:schemeClr val="accent4">
            <a:hueOff val="10395693"/>
            <a:satOff val="-47968"/>
            <a:lumOff val="176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lvl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300" kern="1200" dirty="0" smtClean="0"/>
            <a:t>¿Qué veo/observo? ¿Qué datos me brinda el caso? ¿Qué otra información necesito?</a:t>
          </a:r>
          <a:endParaRPr lang="es-ES" sz="2300" kern="1200" dirty="0"/>
        </a:p>
      </dsp:txBody>
      <dsp:txXfrm>
        <a:off x="1442952" y="3581283"/>
        <a:ext cx="6151801" cy="1427014"/>
      </dsp:txXfrm>
    </dsp:sp>
    <dsp:sp modelId="{A1D61316-8199-4A11-A5FD-D3238B45A9A8}">
      <dsp:nvSpPr>
        <dsp:cNvPr id="0" name=""/>
        <dsp:cNvSpPr/>
      </dsp:nvSpPr>
      <dsp:spPr>
        <a:xfrm>
          <a:off x="6939873" y="1149488"/>
          <a:ext cx="985275" cy="985275"/>
        </a:xfrm>
        <a:prstGeom prst="downArrow">
          <a:avLst>
            <a:gd name="adj1" fmla="val 55000"/>
            <a:gd name="adj2" fmla="val 45000"/>
          </a:avLst>
        </a:prstGeom>
        <a:solidFill>
          <a:schemeClr val="accent4">
            <a:tint val="40000"/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3600" kern="1200"/>
        </a:p>
      </dsp:txBody>
      <dsp:txXfrm>
        <a:off x="7161560" y="1149488"/>
        <a:ext cx="541901" cy="741419"/>
      </dsp:txXfrm>
    </dsp:sp>
    <dsp:sp modelId="{817DDF33-2B31-469A-B3DA-A0B2740DA96E}">
      <dsp:nvSpPr>
        <dsp:cNvPr id="0" name=""/>
        <dsp:cNvSpPr/>
      </dsp:nvSpPr>
      <dsp:spPr>
        <a:xfrm>
          <a:off x="7639151" y="2907825"/>
          <a:ext cx="985275" cy="985275"/>
        </a:xfrm>
        <a:prstGeom prst="downArrow">
          <a:avLst>
            <a:gd name="adj1" fmla="val 55000"/>
            <a:gd name="adj2" fmla="val 45000"/>
          </a:avLst>
        </a:prstGeom>
        <a:solidFill>
          <a:schemeClr val="accent4">
            <a:tint val="40000"/>
            <a:alpha val="90000"/>
            <a:hueOff val="11513918"/>
            <a:satOff val="-61261"/>
            <a:lumOff val="-3490"/>
            <a:alphaOff val="0"/>
          </a:schemeClr>
        </a:solidFill>
        <a:ln w="25400" cap="flat" cmpd="sng" algn="ctr">
          <a:solidFill>
            <a:schemeClr val="accent4">
              <a:tint val="40000"/>
              <a:alpha val="90000"/>
              <a:hueOff val="11513918"/>
              <a:satOff val="-61261"/>
              <a:lumOff val="-349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ES" sz="3600" kern="1200"/>
        </a:p>
      </dsp:txBody>
      <dsp:txXfrm>
        <a:off x="7860838" y="2907825"/>
        <a:ext cx="541901" cy="74141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hProcess9#2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>
          <dgm:prSet qsTypeId="urn:microsoft.com/office/officeart/2005/8/quickstyle/simple5"/>
        </dgm:pt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>
          <dgm:prSet csTypeId="urn:microsoft.com/office/officeart/2005/8/colors/accent6_5"/>
        </dgm:pt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list1#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>
          <dgm:prSet qsTypeId="urn:microsoft.com/office/officeart/2005/8/quickstyle/simple5"/>
        </dgm:pt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>
          <dgm:prSet csTypeId="urn:microsoft.com/office/officeart/2005/8/colors/accent6_5"/>
        </dgm:pt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nodeHorzAlign" val="l"/>
          <dgm:param type="horzAlign" val="l"/>
        </dgm:alg>
      </dgm:if>
      <dgm:else name="Name2">
        <dgm:alg type="lin">
          <dgm:param type="linDir" val="fromT"/>
          <dgm:param type="vertAlign" val="mid"/>
          <dgm:param type="nodeHorzAlign" val="r"/>
          <dgm:param type="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nodeHorzAlign" val="l"/>
              <dgm:param type="horzAlign" val="l"/>
            </dgm:alg>
          </dgm:if>
          <dgm:else name="Name6">
            <dgm:alg type="lin">
              <dgm:param type="linDir" val="fromR"/>
              <dgm:param type="nodeHorzAlign" val="r"/>
              <dgm:param type="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6#1">
  <dgm:title val=""/>
  <dgm:desc val=""/>
  <dgm:catLst>
    <dgm:cat type="cycle" pri="9000"/>
    <dgm:cat type="relationship" pri="2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>
          <dgm:prSet qsTypeId="urn:microsoft.com/office/officeart/2005/8/quickstyle/simple5"/>
        </dgm:pt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>
          <dgm:prSet csTypeId="urn:microsoft.com/office/officeart/2005/8/colors/accent6_5"/>
        </dgm:pt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choose name="Name3">
          <dgm:if name="Name4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5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6">
        <dgm:choose name="Name7">
          <dgm:if name="Name8" axis="ch ch" ptType="node node" st="1 1" cnt="1 0" func="cnt" op="lte" val="1">
            <dgm:alg type="cycle">
              <dgm:param type="stAng" val="-90"/>
              <dgm:param type="spanAng" val="360"/>
              <dgm:param type="ctrShpMap" val="fNode"/>
            </dgm:alg>
          </dgm:if>
          <dgm:else name="Name9">
            <dgm:alg type="cycle">
              <dgm:param type="stAng" val="0"/>
              <dgm:param type="spanAng" val="-360"/>
              <dgm:param type="ctrShpMap" val="fNode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10">
      <dgm:if name="Name11" func="var" arg="dir" op="equ" val="norm">
        <dgm:choose name="Name12">
          <dgm:if name="Name13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des" forName="oneNode" refType="primFontSz" refFor="ch" refForName="centerShape" op="lte" fact="0.95"/>
              <dgm:constr type="diam" for="ch" forName="singleconn" refType="diam" op="equ" fact="-1"/>
              <dgm:constr type="h" for="ch" forName="singleconn" refType="w" refFor="ch" refForName="oneComp" fact="0.24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4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forName="sibTrans" refType="diam" op="equ"/>
              <dgm:constr type="h" for="ch" forName="sibTrans" refType="w" refFor="ch" refForName="node" fact="0.24"/>
              <dgm:constr type="w" for="ch" forName="dummy" val="1"/>
            </dgm:constrLst>
          </dgm:else>
        </dgm:choose>
      </dgm:if>
      <dgm:else name="Name15">
        <dgm:choose name="Name16">
          <dgm:if name="Name17" axis="ch ch" ptType="node node" st="1 1" cnt="1 0" func="cnt" op="equ" val="1">
            <dgm:constrLst>
              <dgm:constr type="diam" val="170"/>
              <dgm:constr type="w" for="ch" forName="centerShape" refType="w"/>
              <dgm:constr type="w" for="ch" forName="oneComp" refType="w" refFor="ch" refForName="centerShape" op="equ" fact="0.7"/>
              <dgm:constr type="sp" refType="w" refFor="ch" refForName="oneComp" fact="0.3"/>
              <dgm:constr type="sibSp" refType="w" refFor="ch" refForName="oneComp" fact="0.3"/>
              <dgm:constr type="primFontSz" for="ch" forName="centerShape" val="65"/>
              <dgm:constr type="primFontSz" for="des" forName="oneNode" refType="primFontSz" refFor="ch" refForName="centerShape" fact="0.95"/>
              <dgm:constr type="primFontSz" for="ch" forName="oneNode" refType="primFontSz" refFor="ch" refForName="centerShape" op="lte" fact="0.95"/>
              <dgm:constr type="diam" for="ch" forName="singleconn" refType="diam"/>
              <dgm:constr type="h" for="ch" forName="singleconn" refType="w" refFor="ch" refForName="oneComp" fact="0.24"/>
              <dgm:constr type="diam" for="ch" refType="diam" op="equ"/>
              <dgm:constr type="w" for="ch" forName="dummya" refType="w" refFor="ch" refForName="oneComp" op="equ"/>
              <dgm:constr type="w" for="ch" forName="dummyb" refType="w" refFor="ch" refForName="oneComp" op="equ"/>
              <dgm:constr type="w" for="ch" forName="dummyc" refType="w" refFor="ch" refForName="oneComp" op="equ"/>
            </dgm:constrLst>
          </dgm:if>
          <dgm:else name="Name18">
            <dgm:constrLst>
              <dgm:constr type="diam" val="170"/>
              <dgm:constr type="w" for="ch" forName="centerShape" refType="w"/>
              <dgm:constr type="w" for="ch" forName="node" refType="w" refFor="ch" refForName="centerShape" op="equ" fact="0.7"/>
              <dgm:constr type="sp" refType="w" refFor="ch" refForName="node" fact="0.3"/>
              <dgm:constr type="sibSp" refType="w" refFor="ch" refForName="node" fact="0.3"/>
              <dgm:constr type="primFontSz" for="ch" forName="centerShape" val="65"/>
              <dgm:constr type="primFontSz" for="des" forName="node" refType="primFontSz" refFor="ch" refForName="centerShape" fact="0.78"/>
              <dgm:constr type="primFontSz" for="ch" forName="node" refType="primFontSz" refFor="ch" refForName="centerShape" op="lte" fact="0.95"/>
              <dgm:constr type="diam" for="ch" ptType="sibTrans" refType="diam" fact="-1"/>
              <dgm:constr type="h" for="ch" forName="sibTrans" refType="w" refFor="ch" refForName="node" fact="0.24"/>
              <dgm:constr type="diam" for="ch" refType="diam" op="equ" fact="-1"/>
              <dgm:constr type="w" for="ch" forName="dummy" val="1"/>
            </dgm:constrLst>
          </dgm:else>
        </dgm:choose>
      </dgm:else>
    </dgm:choose>
    <dgm:ruleLst>
      <dgm:rule type="diam" val="INF" fact="NaN" max="NaN"/>
    </dgm:ruleLst>
    <dgm:forEach name="Name19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20" axis="ch">
        <dgm:forEach name="Name21" axis="self" ptType="node">
          <dgm:choose name="Name22">
            <dgm:if name="Name23" axis="par ch" ptType="node node" func="cnt" op="gt" val="1">
              <dgm:layoutNode name="node" styleLbl="node1">
                <dgm:varLst>
                  <dgm:bulletEnabled val="1"/>
                </dgm:varLst>
                <dgm:alg type="tx">
                  <dgm:param type="txAnchorVertCh" val="mid"/>
                </dgm:alg>
                <dgm:shape xmlns:r="http://schemas.openxmlformats.org/officeDocument/2006/relationships" type="ellipse" r:blip="">
                  <dgm:adjLst/>
                </dgm:shape>
                <dgm:presOf axis="desOrSelf" ptType="node"/>
                <dgm:constrLst>
                  <dgm:constr type="h" refType="w"/>
                  <dgm:constr type="tMarg" refType="primFontSz" fact="0.1"/>
                  <dgm:constr type="bMarg" refType="primFontSz" fact="0.1"/>
                  <dgm:constr type="lMarg" refType="primFontSz" fact="0.1"/>
                  <dgm:constr type="rMarg" refType="primFontSz" fact="0.1"/>
                </dgm:constrLst>
                <dgm:ruleLst>
                  <dgm:rule type="primFontSz" val="5" fact="NaN" max="NaN"/>
                </dgm:ruleLst>
              </dgm:layoutNode>
              <dgm:layoutNode name="dummy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" axis="followSib" ptType="sibTrans" hideLastTrans="0" cnt="1">
                <dgm:layoutNode name="sibTrans" styleLbl="sibTrans2D1">
                  <dgm:alg type="conn">
                    <dgm:param type="dstNode" val="node"/>
                    <dgm:param type="begSty" val="noArr"/>
                    <dgm:param type="endSty" val="noArr"/>
                    <dgm:param type="connRout" val="curve"/>
                    <dgm:param type="begPts" val="ctr"/>
                    <dgm:param type="endPts" val="ctr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if name="Name24" axis="par ch" ptType="node node" func="cnt" op="equ" val="1">
              <dgm:layoutNode name="oneComp">
                <dgm:alg type="composite">
                  <dgm:param type="ar" val="1"/>
                </dgm:alg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  <dgm:constr type="l" for="ch" forName="dummyConnPt" refType="w" fact="0.5"/>
                  <dgm:constr type="t" for="ch" forName="dummyConnPt" refType="w" fact="0.5"/>
                  <dgm:constr type="l" for="ch" forName="oneNode"/>
                  <dgm:constr type="t" for="ch" forName="oneNode"/>
                  <dgm:constr type="h" for="ch" forName="oneNode" refType="h"/>
                  <dgm:constr type="w" for="ch" forName="oneNode" refType="w"/>
                </dgm:constrLst>
                <dgm:ruleLst/>
                <dgm:layoutNode name="dummyConnPt" styleLbl="node1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val="1"/>
                    <dgm:constr type="h" val="1"/>
                  </dgm:constrLst>
                  <dgm:ruleLst/>
                </dgm:layoutNode>
                <dgm:layoutNode name="oneNode" styleLbl="node1">
                  <dgm:varLst>
                    <dgm:bulletEnabled val="1"/>
                  </dgm:varLst>
                  <dgm:alg type="tx">
                    <dgm:param type="txAnchorVertCh" val="mid"/>
                  </dgm:alg>
                  <dgm:shape xmlns:r="http://schemas.openxmlformats.org/officeDocument/2006/relationships" type="ellipse" r:blip="">
                    <dgm:adjLst/>
                  </dgm:shape>
                  <dgm:presOf axis="desOrSelf" ptType="node"/>
                  <dgm:constrLst>
                    <dgm:constr type="h" refType="w"/>
                    <dgm:constr type="tMarg" refType="primFontSz" fact="0.1"/>
                    <dgm:constr type="bMarg" refType="primFontSz" fact="0.1"/>
                    <dgm:constr type="lMarg" refType="primFontSz" fact="0.1"/>
                    <dgm:constr type="rMarg" refType="primFontSz" fact="0.1"/>
                  </dgm:constrLst>
                  <dgm:ruleLst>
                    <dgm:rule type="primFontSz" val="5" fact="NaN" max="NaN"/>
                  </dgm:ruleLst>
                </dgm:layoutNode>
              </dgm:layoutNode>
              <dgm:layoutNode name="dummya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b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layoutNode name="dummyc">
                <dgm:alg type="sp"/>
                <dgm:shape xmlns:r="http://schemas.openxmlformats.org/officeDocument/2006/relationships" r:blip="">
                  <dgm:adjLst/>
                </dgm:shape>
                <dgm:presOf/>
                <dgm:constrLst>
                  <dgm:constr type="h" refType="w"/>
                </dgm:constrLst>
                <dgm:ruleLst/>
              </dgm:layoutNode>
              <dgm:forEach name="sibTransForEach1" axis="followSib" ptType="sibTrans" hideLastTrans="0" cnt="1">
                <dgm:layoutNode name="singleconn" styleLbl="sibTrans2D1">
                  <dgm:alg type="conn">
                    <dgm:param type="srcNode" val="dummyConnPt"/>
                    <dgm:param type="dstNode" val="dummyConnPt"/>
                    <dgm:param type="begSty" val="noArr"/>
                    <dgm:param type="endSty" val="noArr"/>
                    <dgm:param type="connRout" val="longCurve"/>
                    <dgm:param type="begPts" val="bCtr"/>
                    <dgm:param type="endPts" val="tCtr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</dgm:if>
            <dgm:else name="Name25"/>
          </dgm:choose>
        </dgm:forEach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2#1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>
          <dgm:prSet qsTypeId="urn:microsoft.com/office/officeart/2005/8/quickstyle/simple5"/>
        </dgm:pt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>
          <dgm:prSet csTypeId="urn:microsoft.com/office/officeart/2005/8/colors/accent6_5"/>
        </dgm:pt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endSty" val="noArr"/>
                        <dgm:param type="begPts" val="midR"/>
                        <dgm:param type="endPts" val="midL"/>
                      </dgm:alg>
                    </dgm:if>
                    <dgm:else name="Name14">
                      <dgm:alg type="conn">
                        <dgm:param type="dim" val="1D"/>
                        <dgm:param type="endSty" val="noArr"/>
                        <dgm:param type="begPts" val="midL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Process9#1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>
          <dgm:prSet qsTypeId="urn:microsoft.com/office/officeart/2005/8/quickstyle/simple5"/>
        </dgm:pt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>
          <dgm:prSet csTypeId="urn:microsoft.com/office/officeart/2005/8/colors/accent6_5"/>
        </dgm:pt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gear1#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>
          <dgm:prSet qsTypeId="urn:microsoft.com/office/officeart/2005/8/quickstyle/simple5"/>
        </dgm:pt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srcNode" val="gear1srcNode"/>
          <dgm:param type="dstNode" val="gear1dstNode"/>
          <dgm:param type="connRout" val="curv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srcNode" val="gear2srcNode"/>
          <dgm:param type="dstNode" val="gear2dstNode"/>
          <dgm:param type="connRout" val="curv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srcNode" val="gear3srcNode"/>
          <dgm:param type="dstNode" val="gear3dstNode"/>
          <dgm:param type="connRout" val="curv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9/3/layout/StepUpProcess#1">
  <dgm:title val=""/>
  <dgm:desc val=""/>
  <dgm:catLst>
    <dgm:cat type="process" pri="13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</dgm:cxnLst>
      <dgm:bg/>
      <dgm:whole/>
    </dgm:dataModel>
  </dgm:sampData>
  <dgm:styleData>
    <dgm:dataModel>
      <dgm:ptLst>
        <dgm:pt modelId="0" type="doc">
          <dgm:prSet qsTypeId="urn:microsoft.com/office/officeart/2005/8/quickstyle/simple5"/>
        </dgm:pt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>
          <dgm:prSet csTypeId="urn:microsoft.com/office/officeart/2005/8/colors/accent6_5"/>
        </dgm:pt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rootnode">
    <dgm:varLst>
      <dgm:chMax/>
      <dgm:chPref/>
      <dgm:dir/>
      <dgm:animLvl val="lvl"/>
    </dgm:varLst>
    <dgm:choose name="Name0">
      <dgm:if name="Name1" func="var" arg="dir" op="equ" val="norm">
        <dgm:alg type="snake">
          <dgm:param type="bkpt" val="fixed"/>
          <dgm:param type="bkPtFixedVal" val="1"/>
          <dgm:param type="off" val="off"/>
          <dgm:param type="grDir" val="bL"/>
          <dgm:param type="flowDir" val="row"/>
        </dgm:alg>
      </dgm:if>
      <dgm:else name="Name2">
        <dgm:alg type="snake">
          <dgm:param type="bkpt" val="fixed"/>
          <dgm:param type="bkPtFixedVal" val="1"/>
          <dgm:param type="off" val="off"/>
          <dgm:param type="grDir" val="bR"/>
          <dgm:param type="flowDir" val="row"/>
        </dgm:alg>
      </dgm:else>
    </dgm:choose>
    <dgm:shape xmlns:r="http://schemas.openxmlformats.org/officeDocument/2006/relationships" r:blip="">
      <dgm:adjLst/>
    </dgm:shape>
    <dgm:constrLst>
      <dgm:constr type="alignOff" forName="rootnode" val="1"/>
      <dgm:constr type="primFontSz" for="des" ptType="node" op="equ" val="65"/>
      <dgm:constr type="w" for="ch" forName="composite" refType="w"/>
      <dgm:constr type="h" for="ch" forName="composite" refType="h"/>
      <dgm:constr type="sp" refType="h" refFor="ch" refForName="composite" op="equ" fact="-0.765"/>
      <dgm:constr type="w" for="ch" forName="sibTrans" refType="w" fact="0.103"/>
      <dgm:constr type="h" for="ch" forName="sibTrans" refType="h" fact="0.103"/>
    </dgm:constrLst>
    <dgm:forEach name="nodesForEach" axis="ch" ptType="node">
      <dgm:layoutNode name="composite">
        <dgm:alg type="composite">
          <dgm:param type="ar" val="0.861"/>
        </dgm:alg>
        <dgm:shape xmlns:r="http://schemas.openxmlformats.org/officeDocument/2006/relationships" r:blip="">
          <dgm:adjLst/>
        </dgm:shape>
        <dgm:choose name="Name3">
          <dgm:if name="Name4" func="var" arg="dir" op="equ" val="norm">
            <dgm:constrLst>
              <dgm:constr type="l" for="ch" forName="LShape" refType="w" fact="0"/>
              <dgm:constr type="t" for="ch" forName="LShape" refType="h" fact="0.2347"/>
              <dgm:constr type="w" for="ch" forName="LShape" refType="w" fact="0.998"/>
              <dgm:constr type="h" for="ch" forName="LShape" refType="h" fact="0.5164"/>
              <dgm:constr type="r" for="ch" forName="ParentText" refType="w"/>
              <dgm:constr type="t" for="ch" forName="ParentText" refType="h" fact="0.32"/>
              <dgm:constr type="w" for="ch" forName="ParentText" refType="w" fact="0.901"/>
              <dgm:constr type="h" for="ch" forName="ParentText" refType="h" fact="0.68"/>
              <dgm:constr type="l" for="ch" forName="Triangle" refType="w" fact="0.83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if>
          <dgm:else name="Name5">
            <dgm:constrLst>
              <dgm:constr type="l" for="ch" forName="LShape" refType="w" fact="0.002"/>
              <dgm:constr type="t" for="ch" forName="LShape" refType="h" fact="0.2347"/>
              <dgm:constr type="w" for="ch" forName="LShape" refType="w"/>
              <dgm:constr type="h" for="ch" forName="LShape" refType="h" fact="0.5164"/>
              <dgm:constr type="l" for="ch" forName="ParentText" refType="w" fact="0"/>
              <dgm:constr type="t" for="ch" forName="ParentText" refType="h" fact="0.32"/>
              <dgm:constr type="w" for="ch" forName="ParentText" refType="w" fact="0.902"/>
              <dgm:constr type="h" for="ch" forName="ParentText" refType="h" fact="0.68"/>
              <dgm:constr type="l" for="ch" forName="Triangle" refType="w" fact="0"/>
              <dgm:constr type="t" for="ch" forName="Triangle" refType="h" fact="0"/>
              <dgm:constr type="w" for="ch" forName="Triangle" refType="w" fact="0.17"/>
              <dgm:constr type="h" for="ch" forName="Triangle" refType="w" refFor="ch" refForName="Triangle"/>
            </dgm:constrLst>
          </dgm:else>
        </dgm:choose>
        <dgm:layoutNode name="LShape" styleLbl="alignNode1">
          <dgm:alg type="sp"/>
          <dgm:choose name="Name6">
            <dgm:if name="Name7" func="var" arg="dir" op="equ" val="norm">
              <dgm:shape xmlns:r="http://schemas.openxmlformats.org/officeDocument/2006/relationships" rot="90" type="corner" r:blip="">
                <dgm:adjLst>
                  <dgm:adj idx="1" val="0.1612"/>
                  <dgm:adj idx="2" val="0.1611"/>
                </dgm:adjLst>
              </dgm:shape>
            </dgm:if>
            <dgm:else name="Name8">
              <dgm:shape xmlns:r="http://schemas.openxmlformats.org/officeDocument/2006/relationships" rot="180" type="corner" r:blip="">
                <dgm:adjLst>
                  <dgm:adj idx="1" val="0.1612"/>
                  <dgm:adj idx="2" val="0.1611"/>
                </dgm:adjLst>
              </dgm:shape>
            </dgm:else>
          </dgm:choose>
          <dgm:presOf/>
        </dgm:layoutNode>
        <dgm:layoutNode name="ParentText" styleLbl="revTx">
          <dgm:varLst>
            <dgm:chMax val="0"/>
            <dgm:chPref val="0"/>
            <dgm:bulletEnabled val="1"/>
          </dgm:varLst>
          <dgm:alg type="tx">
            <dgm:param type="parTxLTRAlign" val="l"/>
            <dgm:param type="txAnchorVert" val="t"/>
          </dgm:alg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choose name="Name9">
          <dgm:if name="Name10" axis="followSib" ptType="node" func="cnt" op="gte" val="1">
            <dgm:layoutNode name="Triangle" styleLbl="alignNode1">
              <dgm:alg type="sp"/>
              <dgm:choose name="Name11">
                <dgm:if name="Name12" func="var" arg="dir" op="equ" val="norm">
                  <dgm:shape xmlns:r="http://schemas.openxmlformats.org/officeDocument/2006/relationships" type="triangle" r:blip="">
                    <dgm:adjLst>
                      <dgm:adj idx="1" val="1"/>
                    </dgm:adjLst>
                  </dgm:shape>
                </dgm:if>
                <dgm:else name="Name13">
                  <dgm:shape xmlns:r="http://schemas.openxmlformats.org/officeDocument/2006/relationships" rot="90" type="triangle" r:blip="">
                    <dgm:adjLst>
                      <dgm:adj idx="1" val="1"/>
                    </dgm:adjLst>
                  </dgm:shape>
                </dgm:else>
              </dgm:choose>
              <dgm:presOf/>
            </dgm:layoutNode>
          </dgm:if>
          <dgm:else name="Name14"/>
        </dgm:choose>
      </dgm:layoutNode>
      <dgm:forEach name="sibTransForEach" axis="followSib" ptType="sibTrans" cnt="1">
        <dgm:layoutNode name="sibTrans">
          <dgm:alg type="composite">
            <dgm:param type="ar" val="0.861"/>
          </dgm:alg>
          <dgm:constrLst>
            <dgm:constr type="w" for="ch" forName="space" refType="w"/>
            <dgm:constr type="h" for="ch" forName="space" refType="w"/>
          </dgm:constrLst>
          <dgm:layoutNode name="space" styleLbl="alignNode1">
            <dgm:alg type="sp"/>
            <dgm:shape xmlns:r="http://schemas.openxmlformats.org/officeDocument/2006/relationships" r:blip="">
              <dgm:adjLst/>
            </dgm:shape>
            <dgm:presOf/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8/layout/VerticalCurvedList#1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srcNode" val="srcNode"/>
            <dgm:param type="dstNode" val="dstNode"/>
            <dgm:param type="endSty" val="noArr"/>
            <dgm:param type="connRout" val="curve"/>
            <dgm:param type="begPts" val="ctr"/>
            <dgm:param type="endPts" val="ct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parTxRTLAlign" val="l"/>
                <dgm:param type="shpTxLTRAlignCh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parTxRTLAlign" val="r"/>
                <dgm:param type="shpTxLTRAlignCh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parTxRTLAlign" val="l"/>
                <dgm:param type="shpTxLTRAlignCh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parTxRTLAlign" val="r"/>
                <dgm:param type="shpTxLTRAlignCh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parTxRTLAlign" val="l"/>
                <dgm:param type="shpTxLTRAlignCh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parTxRTLAlign" val="r"/>
                <dgm:param type="shpTxLTRAlignCh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parTxRTLAlign" val="l"/>
                <dgm:param type="shpTxLTRAlignCh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parTxRTLAlign" val="r"/>
                <dgm:param type="shpTxLTRAlignCh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parTxRTLAlign" val="l"/>
                <dgm:param type="shpTxLTRAlignCh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parTxRTLAlign" val="r"/>
                <dgm:param type="shpTxLTRAlignCh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parTxRTLAlign" val="l"/>
                <dgm:param type="shpTxLTRAlignCh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parTxRTLAlign" val="r"/>
                <dgm:param type="shpTxLTRAlignCh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parTxRTLAlign" val="l"/>
                <dgm:param type="shpTxLTRAlignCh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parTxRTLAlign" val="r"/>
                <dgm:param type="shpTxLTRAlignCh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arrow2#1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>
          <dgm:prSet qsTypeId="urn:microsoft.com/office/officeart/2005/8/quickstyle/simple5"/>
        </dgm:pt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>
          <dgm:prSet csTypeId="urn:microsoft.com/office/officeart/2005/8/colors/accent6_5"/>
        </dgm:pt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parTxLTRAlign" val="r"/>
                    <dgm:param type="parTxRTLAlign" val="r"/>
                    <dgm:param type="txAnchorVert" val="t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" val="t"/>
                          </dgm:alg>
                        </dgm:if>
                        <dgm:else name="Name15">
                          <dgm:alg type="tx">
                            <dgm:param type="parTxLTRAlign" val="l"/>
                            <dgm:param type="parTxRTLAlign" val="l"/>
                            <dgm:param type="txAnchorVert" val="t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Ch" val="b"/>
                            <dgm:param type="txAnchorVert" val="b"/>
                          </dgm:alg>
                        </dgm:if>
                        <dgm:else name="Name19">
                          <dgm:alg type="tx">
                            <dgm:param type="parTxLTRAlign" val="r"/>
                            <dgm:param type="parTxRTLAlign" val="r"/>
                            <dgm:param type="txAnchorVert" val="b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" val="t"/>
                          </dgm:alg>
                        </dgm:if>
                        <dgm:else name="Name28">
                          <dgm:alg type="tx">
                            <dgm:param type="parTxLTRAlign" val="l"/>
                            <dgm:param type="parTxRTLAlign" val="l"/>
                            <dgm:param type="txAnchorVert" val="t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Ch" val="b"/>
                            <dgm:param type="txAnchorVert" val="b"/>
                          </dgm:alg>
                        </dgm:if>
                        <dgm:else name="Name32">
                          <dgm:alg type="tx">
                            <dgm:param type="parTxLTRAlign" val="r"/>
                            <dgm:param type="parTxRTLAlign" val="r"/>
                            <dgm:param type="txAnchorVert" val="b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" val="t"/>
                          </dgm:alg>
                        </dgm:if>
                        <dgm:else name="Name45">
                          <dgm:alg type="tx">
                            <dgm:param type="parTxLTRAlign" val="l"/>
                            <dgm:param type="parTxRTLAlign" val="l"/>
                            <dgm:param type="txAnchorVert" val="t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Ch" val="b"/>
                            <dgm:param type="txAnchorVert" val="b"/>
                          </dgm:alg>
                        </dgm:if>
                        <dgm:else name="Name49">
                          <dgm:alg type="tx">
                            <dgm:param type="parTxLTRAlign" val="r"/>
                            <dgm:param type="parTxRTLAlign" val="r"/>
                            <dgm:param type="txAnchorVert" val="b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" val="t"/>
                          </dgm:alg>
                        </dgm:if>
                        <dgm:else name="Name58">
                          <dgm:alg type="tx">
                            <dgm:param type="parTxLTRAlign" val="l"/>
                            <dgm:param type="parTxRTLAlign" val="l"/>
                            <dgm:param type="txAnchorVert" val="t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Ch" val="b"/>
                            <dgm:param type="txAnchorVert" val="b"/>
                          </dgm:alg>
                        </dgm:if>
                        <dgm:else name="Name62">
                          <dgm:alg type="tx">
                            <dgm:param type="parTxLTRAlign" val="r"/>
                            <dgm:param type="parTxRTLAlign" val="r"/>
                            <dgm:param type="txAnchorVert" val="b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" val="t"/>
                          </dgm:alg>
                        </dgm:if>
                        <dgm:else name="Name71">
                          <dgm:alg type="tx">
                            <dgm:param type="parTxLTRAlign" val="l"/>
                            <dgm:param type="parTxRTLAlign" val="l"/>
                            <dgm:param type="txAnchorVert" val="t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Ch" val="b"/>
                            <dgm:param type="txAnchorVert" val="b"/>
                          </dgm:alg>
                        </dgm:if>
                        <dgm:else name="Name75">
                          <dgm:alg type="tx">
                            <dgm:param type="parTxLTRAlign" val="r"/>
                            <dgm:param type="parTxRTLAlign" val="r"/>
                            <dgm:param type="txAnchorVert" val="b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" val="t"/>
                          </dgm:alg>
                        </dgm:if>
                        <dgm:else name="Name88">
                          <dgm:alg type="tx">
                            <dgm:param type="parTxLTRAlign" val="l"/>
                            <dgm:param type="parTxRTLAlign" val="l"/>
                            <dgm:param type="txAnchorVert" val="t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Ch" val="b"/>
                            <dgm:param type="txAnchorVert" val="b"/>
                          </dgm:alg>
                        </dgm:if>
                        <dgm:else name="Name92">
                          <dgm:alg type="tx">
                            <dgm:param type="parTxLTRAlign" val="r"/>
                            <dgm:param type="parTxRTLAlign" val="r"/>
                            <dgm:param type="txAnchorVert" val="b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" val="t"/>
                          </dgm:alg>
                        </dgm:if>
                        <dgm:else name="Name101">
                          <dgm:alg type="tx">
                            <dgm:param type="parTxLTRAlign" val="l"/>
                            <dgm:param type="parTxRTLAlign" val="l"/>
                            <dgm:param type="txAnchorVert" val="t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Ch" val="b"/>
                            <dgm:param type="txAnchorVert" val="b"/>
                          </dgm:alg>
                        </dgm:if>
                        <dgm:else name="Name105">
                          <dgm:alg type="tx">
                            <dgm:param type="parTxLTRAlign" val="r"/>
                            <dgm:param type="parTxRTLAlign" val="r"/>
                            <dgm:param type="txAnchorVert" val="b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" val="t"/>
                          </dgm:alg>
                        </dgm:if>
                        <dgm:else name="Name114">
                          <dgm:alg type="tx">
                            <dgm:param type="parTxLTRAlign" val="l"/>
                            <dgm:param type="parTxRTLAlign" val="l"/>
                            <dgm:param type="txAnchorVert" val="t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Ch" val="b"/>
                            <dgm:param type="txAnchorVert" val="b"/>
                          </dgm:alg>
                        </dgm:if>
                        <dgm:else name="Name118">
                          <dgm:alg type="tx">
                            <dgm:param type="parTxLTRAlign" val="r"/>
                            <dgm:param type="parTxRTLAlign" val="r"/>
                            <dgm:param type="txAnchorVert" val="b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" val="t"/>
                          </dgm:alg>
                        </dgm:if>
                        <dgm:else name="Name127">
                          <dgm:alg type="tx">
                            <dgm:param type="parTxLTRAlign" val="l"/>
                            <dgm:param type="parTxRTLAlign" val="l"/>
                            <dgm:param type="txAnchorVert" val="t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Ch" val="b"/>
                            <dgm:param type="txAnchorVert" val="b"/>
                          </dgm:alg>
                        </dgm:if>
                        <dgm:else name="Name131">
                          <dgm:alg type="tx">
                            <dgm:param type="parTxLTRAlign" val="r"/>
                            <dgm:param type="parTxRTLAlign" val="r"/>
                            <dgm:param type="txAnchorVert" val="b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" val="t"/>
                          </dgm:alg>
                        </dgm:if>
                        <dgm:else name="Name144">
                          <dgm:alg type="tx">
                            <dgm:param type="parTxLTRAlign" val="l"/>
                            <dgm:param type="parTxRTLAlign" val="l"/>
                            <dgm:param type="txAnchorVert" val="t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Ch" val="b"/>
                            <dgm:param type="txAnchorVert" val="b"/>
                          </dgm:alg>
                        </dgm:if>
                        <dgm:else name="Name148">
                          <dgm:alg type="tx">
                            <dgm:param type="parTxLTRAlign" val="r"/>
                            <dgm:param type="parTxRTLAlign" val="r"/>
                            <dgm:param type="txAnchorVert" val="b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" val="t"/>
                          </dgm:alg>
                        </dgm:if>
                        <dgm:else name="Name157">
                          <dgm:alg type="tx">
                            <dgm:param type="parTxLTRAlign" val="l"/>
                            <dgm:param type="parTxRTLAlign" val="l"/>
                            <dgm:param type="txAnchorVert" val="t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Ch" val="b"/>
                            <dgm:param type="txAnchorVert" val="b"/>
                          </dgm:alg>
                        </dgm:if>
                        <dgm:else name="Name161">
                          <dgm:alg type="tx">
                            <dgm:param type="parTxLTRAlign" val="r"/>
                            <dgm:param type="parTxRTLAlign" val="r"/>
                            <dgm:param type="txAnchorVert" val="b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" val="t"/>
                          </dgm:alg>
                        </dgm:if>
                        <dgm:else name="Name170">
                          <dgm:alg type="tx">
                            <dgm:param type="parTxLTRAlign" val="l"/>
                            <dgm:param type="parTxRTLAlign" val="l"/>
                            <dgm:param type="txAnchorVert" val="t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Ch" val="b"/>
                            <dgm:param type="txAnchorVert" val="b"/>
                          </dgm:alg>
                        </dgm:if>
                        <dgm:else name="Name174">
                          <dgm:alg type="tx">
                            <dgm:param type="parTxLTRAlign" val="r"/>
                            <dgm:param type="parTxRTLAlign" val="r"/>
                            <dgm:param type="txAnchorVert" val="b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" val="t"/>
                          </dgm:alg>
                        </dgm:if>
                        <dgm:else name="Name183">
                          <dgm:alg type="tx">
                            <dgm:param type="parTxLTRAlign" val="l"/>
                            <dgm:param type="parTxRTLAlign" val="l"/>
                            <dgm:param type="txAnchorVert" val="t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Ch" val="b"/>
                            <dgm:param type="txAnchorVert" val="b"/>
                          </dgm:alg>
                        </dgm:if>
                        <dgm:else name="Name187">
                          <dgm:alg type="tx">
                            <dgm:param type="parTxLTRAlign" val="r"/>
                            <dgm:param type="parTxRTLAlign" val="r"/>
                            <dgm:param type="txAnchorVert" val="b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" val="t"/>
                          </dgm:alg>
                        </dgm:if>
                        <dgm:else name="Name196">
                          <dgm:alg type="tx">
                            <dgm:param type="parTxLTRAlign" val="l"/>
                            <dgm:param type="parTxRTLAlign" val="l"/>
                            <dgm:param type="txAnchorVert" val="t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parTxLTRAlign" val="l"/>
                            <dgm:param type="parTxRTLAlign" val="r"/>
                            <dgm:param type="txAnchorVertCh" val="b"/>
                            <dgm:param type="txAnchorVert" val="b"/>
                          </dgm:alg>
                        </dgm:if>
                        <dgm:else name="Name200">
                          <dgm:alg type="tx">
                            <dgm:param type="parTxLTRAlign" val="r"/>
                            <dgm:param type="parTxRTLAlign" val="r"/>
                            <dgm:param type="txAnchorVert" val="b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#1">
  <dgm:title val=""/>
  <dgm:desc val=""/>
  <dgm:catLst>
    <dgm:cat type="simple" pri="104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#6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#7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#8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#2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2#1">
  <dgm:title val=""/>
  <dgm:desc val=""/>
  <dgm:catLst>
    <dgm:cat type="3D" pri="11200"/>
  </dgm:catLst>
  <dgm:scene3d>
    <a:camera prst="orthographicFront"/>
    <a:lightRig rig="threePt" dir="t"/>
  </dgm:scene3d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2#2">
  <dgm:title val=""/>
  <dgm:desc val=""/>
  <dgm:catLst>
    <dgm:cat type="3D" pri="11200"/>
  </dgm:catLst>
  <dgm:scene3d>
    <a:camera prst="orthographicFront"/>
    <a:lightRig rig="threePt" dir="t"/>
  </dgm:scene3d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3d2#3">
  <dgm:title val=""/>
  <dgm:desc val=""/>
  <dgm:catLst>
    <dgm:cat type="3D" pri="11200"/>
  </dgm:catLst>
  <dgm:scene3d>
    <a:camera prst="orthographicFront"/>
    <a:lightRig rig="threePt" dir="t"/>
  </dgm:scene3d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#1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#3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#4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#5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hape 3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3013762" cy="46364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9pPr>
          </a:lstStyle>
          <a:p>
            <a:endParaRPr/>
          </a:p>
        </p:txBody>
      </p:sp>
      <p:sp>
        <p:nvSpPr>
          <p:cNvPr id="4" name="Shape 4"/>
          <p:cNvSpPr txBox="1">
            <a:spLocks noGrp="1"/>
          </p:cNvSpPr>
          <p:nvPr>
            <p:ph type="dt" idx="10"/>
          </p:nvPr>
        </p:nvSpPr>
        <p:spPr>
          <a:xfrm>
            <a:off x="3939466" y="0"/>
            <a:ext cx="3013762" cy="46364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r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9pPr>
          </a:lstStyle>
          <a:p>
            <a:endParaRPr/>
          </a:p>
        </p:txBody>
      </p:sp>
      <p:sp>
        <p:nvSpPr>
          <p:cNvPr id="5" name="Shape 5"/>
          <p:cNvSpPr>
            <a:spLocks noGrp="1" noRot="1" noChangeAspect="1"/>
          </p:cNvSpPr>
          <p:nvPr>
            <p:ph type="sldImg" idx="3"/>
          </p:nvPr>
        </p:nvSpPr>
        <p:spPr>
          <a:xfrm>
            <a:off x="704850" y="1154112"/>
            <a:ext cx="5545138" cy="3119436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6" name="Shape 6"/>
          <p:cNvSpPr txBox="1">
            <a:spLocks noGrp="1"/>
          </p:cNvSpPr>
          <p:nvPr>
            <p:ph type="body" idx="1"/>
          </p:nvPr>
        </p:nvSpPr>
        <p:spPr>
          <a:xfrm>
            <a:off x="695483" y="4447155"/>
            <a:ext cx="5563869" cy="363857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9pPr>
          </a:lstStyle>
          <a:p>
            <a:endParaRPr/>
          </a:p>
        </p:txBody>
      </p:sp>
      <p:sp>
        <p:nvSpPr>
          <p:cNvPr id="7" name="Shape 7"/>
          <p:cNvSpPr txBox="1">
            <a:spLocks noGrp="1"/>
          </p:cNvSpPr>
          <p:nvPr>
            <p:ph type="ftr" idx="11"/>
          </p:nvPr>
        </p:nvSpPr>
        <p:spPr>
          <a:xfrm>
            <a:off x="0" y="8777195"/>
            <a:ext cx="3013762" cy="46364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9pPr>
          </a:lstStyle>
          <a:p>
            <a:endParaRPr/>
          </a:p>
        </p:txBody>
      </p:sp>
      <p:sp>
        <p:nvSpPr>
          <p:cNvPr id="8" name="Shape 8"/>
          <p:cNvSpPr txBox="1">
            <a:spLocks noGrp="1"/>
          </p:cNvSpPr>
          <p:nvPr>
            <p:ph type="sldNum" idx="12"/>
          </p:nvPr>
        </p:nvSpPr>
        <p:spPr>
          <a:xfrm>
            <a:off x="3939466" y="8777195"/>
            <a:ext cx="3013762" cy="46364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s-ES" sz="12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  <a:t>‹Nº›</a:t>
            </a:fld>
            <a:endParaRPr lang="es-ES" sz="1200" b="0" i="0" u="none" strike="noStrike" cap="none">
              <a:solidFill>
                <a:schemeClr val="dk1"/>
              </a:solidFill>
              <a:latin typeface="Calibri" panose="020F0502020204030204"/>
              <a:ea typeface="Calibri" panose="020F0502020204030204"/>
              <a:cs typeface="Calibri" panose="020F0502020204030204"/>
              <a:sym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269421637"/>
      </p:ext>
    </p:extLst>
  </p:cSld>
  <p:clrMap bg1="lt1" tx1="dk1" bg2="dk2" tx2="lt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ido con título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Shape 59"/>
          <p:cNvSpPr txBox="1">
            <a:spLocks noGrp="1"/>
          </p:cNvSpPr>
          <p:nvPr>
            <p:ph type="title"/>
          </p:nvPr>
        </p:nvSpPr>
        <p:spPr>
          <a:xfrm>
            <a:off x="839787" y="457200"/>
            <a:ext cx="3932237" cy="16001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b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chemeClr val="dk1"/>
              </a:buClr>
              <a:buFont typeface="Calibri" panose="020F0502020204030204"/>
              <a:buNone/>
              <a:defRPr sz="32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60" name="Shape 60"/>
          <p:cNvSpPr txBox="1">
            <a:spLocks noGrp="1"/>
          </p:cNvSpPr>
          <p:nvPr>
            <p:ph type="body" idx="1"/>
          </p:nvPr>
        </p:nvSpPr>
        <p:spPr>
          <a:xfrm>
            <a:off x="5183187" y="987425"/>
            <a:ext cx="6172199" cy="4873624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228600" marR="0" lvl="0" indent="-25400" algn="l" rtl="0">
              <a:lnSpc>
                <a:spcPct val="90000"/>
              </a:lnSpc>
              <a:spcBef>
                <a:spcPts val="1000"/>
              </a:spcBef>
              <a:buClr>
                <a:schemeClr val="dk1"/>
              </a:buClr>
              <a:buSzPct val="100000"/>
              <a:buFont typeface="Arial" panose="020B0604020202020204"/>
              <a:buChar char="•"/>
              <a:defRPr sz="32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1pPr>
            <a:lvl2pPr marL="685800" marR="0" lvl="1" indent="-508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 panose="020B0604020202020204"/>
              <a:buChar char="•"/>
              <a:defRPr sz="2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2pPr>
            <a:lvl3pPr marL="1143000" marR="0" lvl="2" indent="-762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 panose="020B0604020202020204"/>
              <a:buChar char="•"/>
              <a:defRPr sz="24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3pPr>
            <a:lvl4pPr marL="1600200" marR="0" lvl="3" indent="-1016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 panose="020B0604020202020204"/>
              <a:buChar char="•"/>
              <a:defRPr sz="20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4pPr>
            <a:lvl5pPr marL="2057400" marR="0" lvl="4" indent="-1016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 panose="020B0604020202020204"/>
              <a:buChar char="•"/>
              <a:defRPr sz="20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5pPr>
            <a:lvl6pPr marL="2514600" marR="0" lvl="5" indent="-1016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 panose="020B0604020202020204"/>
              <a:buChar char="•"/>
              <a:defRPr sz="20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6pPr>
            <a:lvl7pPr marL="2971800" marR="0" lvl="6" indent="-1016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 panose="020B0604020202020204"/>
              <a:buChar char="•"/>
              <a:defRPr sz="20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7pPr>
            <a:lvl8pPr marL="3429000" marR="0" lvl="7" indent="-1016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 panose="020B0604020202020204"/>
              <a:buChar char="•"/>
              <a:defRPr sz="20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8pPr>
            <a:lvl9pPr marL="3886200" marR="0" lvl="8" indent="-1016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 panose="020B0604020202020204"/>
              <a:buChar char="•"/>
              <a:defRPr sz="20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9pPr>
          </a:lstStyle>
          <a:p>
            <a:endParaRPr/>
          </a:p>
        </p:txBody>
      </p:sp>
      <p:sp>
        <p:nvSpPr>
          <p:cNvPr id="61" name="Shape 61"/>
          <p:cNvSpPr txBox="1">
            <a:spLocks noGrp="1"/>
          </p:cNvSpPr>
          <p:nvPr>
            <p:ph type="body" idx="2"/>
          </p:nvPr>
        </p:nvSpPr>
        <p:spPr>
          <a:xfrm>
            <a:off x="839787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1000"/>
              </a:spcBef>
              <a:buClr>
                <a:schemeClr val="dk1"/>
              </a:buClr>
              <a:buFont typeface="Arial" panose="020B0604020202020204"/>
              <a:buNone/>
              <a:defRPr sz="16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1pPr>
            <a:lvl2pPr marL="457200" marR="0" lvl="1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 panose="020B0604020202020204"/>
              <a:buNone/>
              <a:defRPr sz="14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2pPr>
            <a:lvl3pPr marL="914400" marR="0" lvl="2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 panose="020B0604020202020204"/>
              <a:buNone/>
              <a:defRPr sz="12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3pPr>
            <a:lvl4pPr marL="1371600" marR="0" lvl="3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 panose="020B0604020202020204"/>
              <a:buNone/>
              <a:defRPr sz="10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4pPr>
            <a:lvl5pPr marL="1828800" marR="0" lvl="4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 panose="020B0604020202020204"/>
              <a:buNone/>
              <a:defRPr sz="10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5pPr>
            <a:lvl6pPr marL="2286000" marR="0" lvl="5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 panose="020B0604020202020204"/>
              <a:buNone/>
              <a:defRPr sz="10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6pPr>
            <a:lvl7pPr marL="2743200" marR="0" lvl="6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 panose="020B0604020202020204"/>
              <a:buNone/>
              <a:defRPr sz="10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7pPr>
            <a:lvl8pPr marL="3200400" marR="0" lvl="7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 panose="020B0604020202020204"/>
              <a:buNone/>
              <a:defRPr sz="10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8pPr>
            <a:lvl9pPr marL="3657600" marR="0" lvl="8" indent="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Font typeface="Arial" panose="020B0604020202020204"/>
              <a:buNone/>
              <a:defRPr sz="10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9pPr>
          </a:lstStyle>
          <a:p>
            <a:endParaRPr/>
          </a:p>
        </p:txBody>
      </p:sp>
      <p:sp>
        <p:nvSpPr>
          <p:cNvPr id="62" name="Shape 6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199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9pPr>
          </a:lstStyle>
          <a:p>
            <a:endParaRPr/>
          </a:p>
        </p:txBody>
      </p:sp>
      <p:sp>
        <p:nvSpPr>
          <p:cNvPr id="63" name="Shape 6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9pPr>
          </a:lstStyle>
          <a:p>
            <a:endParaRPr/>
          </a:p>
        </p:txBody>
      </p:sp>
      <p:sp>
        <p:nvSpPr>
          <p:cNvPr id="64" name="Shape 64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199" cy="36512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s-ES" sz="1200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  <a:t>‹Nº›</a:t>
            </a:fld>
            <a:endParaRPr lang="es-ES" sz="1200">
              <a:solidFill>
                <a:srgbClr val="888888"/>
              </a:solidFill>
              <a:latin typeface="Calibri" panose="020F0502020204030204"/>
              <a:ea typeface="Calibri" panose="020F0502020204030204"/>
              <a:cs typeface="Calibri" panose="020F0502020204030204"/>
              <a:sym typeface="Calibri" panose="020F0502020204030204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>
  <p:cSld name="Título vertical y texto"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Shape 79"/>
          <p:cNvSpPr txBox="1">
            <a:spLocks noGrp="1"/>
          </p:cNvSpPr>
          <p:nvPr>
            <p:ph type="title"/>
          </p:nvPr>
        </p:nvSpPr>
        <p:spPr>
          <a:xfrm rot="5400000">
            <a:off x="7133431" y="1956594"/>
            <a:ext cx="5811838" cy="26288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chemeClr val="dk1"/>
              </a:buClr>
              <a:buFont typeface="Calibri" panose="020F0502020204030204"/>
              <a:buNone/>
              <a:defRPr sz="44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80" name="Shape 80"/>
          <p:cNvSpPr txBox="1">
            <a:spLocks noGrp="1"/>
          </p:cNvSpPr>
          <p:nvPr>
            <p:ph type="body" idx="1"/>
          </p:nvPr>
        </p:nvSpPr>
        <p:spPr>
          <a:xfrm rot="5400000">
            <a:off x="1799431" y="-596105"/>
            <a:ext cx="5811838" cy="7734299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228600" marR="0" lvl="0" indent="-50800" algn="l" rtl="0">
              <a:lnSpc>
                <a:spcPct val="90000"/>
              </a:lnSpc>
              <a:spcBef>
                <a:spcPts val="1000"/>
              </a:spcBef>
              <a:buClr>
                <a:schemeClr val="dk1"/>
              </a:buClr>
              <a:buSzPct val="100000"/>
              <a:buFont typeface="Arial" panose="020B0604020202020204"/>
              <a:buChar char="•"/>
              <a:defRPr sz="2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1pPr>
            <a:lvl2pPr marL="685800" marR="0" lvl="1" indent="-762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 panose="020B0604020202020204"/>
              <a:buChar char="•"/>
              <a:defRPr sz="24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2pPr>
            <a:lvl3pPr marL="1143000" marR="0" lvl="2" indent="-1016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 panose="020B0604020202020204"/>
              <a:buChar char="•"/>
              <a:defRPr sz="20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3pPr>
            <a:lvl4pPr marL="1600200" marR="0" lvl="3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4pPr>
            <a:lvl5pPr marL="2057400" marR="0" lvl="4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5pPr>
            <a:lvl6pPr marL="2514600" marR="0" lvl="5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6pPr>
            <a:lvl7pPr marL="2971800" marR="0" lvl="6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7pPr>
            <a:lvl8pPr marL="3429000" marR="0" lvl="7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8pPr>
            <a:lvl9pPr marL="3886200" marR="0" lvl="8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9pPr>
          </a:lstStyle>
          <a:p>
            <a:endParaRPr/>
          </a:p>
        </p:txBody>
      </p:sp>
      <p:sp>
        <p:nvSpPr>
          <p:cNvPr id="81" name="Shape 81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199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9pPr>
          </a:lstStyle>
          <a:p>
            <a:endParaRPr/>
          </a:p>
        </p:txBody>
      </p:sp>
      <p:sp>
        <p:nvSpPr>
          <p:cNvPr id="82" name="Shape 8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1200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9pPr>
          </a:lstStyle>
          <a:p>
            <a:endParaRPr/>
          </a:p>
        </p:txBody>
      </p:sp>
      <p:sp>
        <p:nvSpPr>
          <p:cNvPr id="83" name="Shape 83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199" cy="36512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s-ES" sz="1200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  <a:t>‹Nº›</a:t>
            </a:fld>
            <a:endParaRPr lang="es-ES" sz="1200">
              <a:solidFill>
                <a:srgbClr val="888888"/>
              </a:solidFill>
              <a:latin typeface="Calibri" panose="020F0502020204030204"/>
              <a:ea typeface="Calibri" panose="020F0502020204030204"/>
              <a:cs typeface="Calibri" panose="020F0502020204030204"/>
              <a:sym typeface="Calibri" panose="020F0502020204030204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A1F76D-7DAE-4B02-BFDA-15DF1891875A}" type="datetimeFigureOut">
              <a:rPr lang="es-ES" smtClean="0"/>
              <a:t>14/09/2020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87A7B8-41E8-4AB3-8A94-CCEC301122F2}" type="slidenum">
              <a:rPr lang="es-ES" smtClean="0"/>
              <a:t>‹Nº›</a:t>
            </a:fld>
            <a:endParaRPr lang="es-E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Decl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Nivel de texto 1…"/>
          <p:cNvSpPr txBox="1">
            <a:spLocks noGrp="1"/>
          </p:cNvSpPr>
          <p:nvPr>
            <p:ph type="body" sz="half" idx="1" hasCustomPrompt="1"/>
          </p:nvPr>
        </p:nvSpPr>
        <p:spPr>
          <a:xfrm>
            <a:off x="603250" y="2460422"/>
            <a:ext cx="10985500" cy="1937157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80000"/>
              </a:lnSpc>
              <a:spcBef>
                <a:spcPts val="0"/>
              </a:spcBef>
              <a:buSzTx/>
              <a:buNone/>
              <a:defRPr sz="5800" spc="-116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1pPr>
            <a:lvl2pPr marL="0" indent="0" algn="ctr">
              <a:lnSpc>
                <a:spcPct val="80000"/>
              </a:lnSpc>
              <a:spcBef>
                <a:spcPts val="0"/>
              </a:spcBef>
              <a:buSzTx/>
              <a:buNone/>
              <a:defRPr sz="5800" spc="-116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2pPr>
            <a:lvl3pPr marL="0" indent="0" algn="ctr">
              <a:lnSpc>
                <a:spcPct val="80000"/>
              </a:lnSpc>
              <a:spcBef>
                <a:spcPts val="0"/>
              </a:spcBef>
              <a:buSzTx/>
              <a:buNone/>
              <a:defRPr sz="5800" spc="-116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3pPr>
            <a:lvl4pPr marL="0" indent="0" algn="ctr">
              <a:lnSpc>
                <a:spcPct val="80000"/>
              </a:lnSpc>
              <a:spcBef>
                <a:spcPts val="0"/>
              </a:spcBef>
              <a:buSzTx/>
              <a:buNone/>
              <a:defRPr sz="5800" spc="-116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4pPr>
            <a:lvl5pPr marL="0" indent="0" algn="ctr">
              <a:lnSpc>
                <a:spcPct val="80000"/>
              </a:lnSpc>
              <a:spcBef>
                <a:spcPts val="0"/>
              </a:spcBef>
              <a:buSzTx/>
              <a:buNone/>
              <a:defRPr sz="5800" spc="-116">
                <a:latin typeface="Helvetica Neue Medium"/>
                <a:ea typeface="Helvetica Neue Medium"/>
                <a:cs typeface="Helvetica Neue Medium"/>
                <a:sym typeface="Helvetica Neue Medium"/>
              </a:defRPr>
            </a:lvl5pPr>
          </a:lstStyle>
          <a:p>
            <a:r>
              <a:t>Declaración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99" name="Número de diapositiva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t>‹Nº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49325"/>
            <a:fld id="{0EB99F12-9B98-4C1C-A600-9D80E86A7624}" type="datetimeFigureOut">
              <a:rPr lang="es-PE" smtClean="0">
                <a:solidFill>
                  <a:prstClr val="black">
                    <a:tint val="75000"/>
                  </a:prstClr>
                </a:solidFill>
              </a:rPr>
              <a:t>14/09/2020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49325"/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49325"/>
            <a:fld id="{FB930FB2-0AFF-4E64-84B0-71E2D4560F58}" type="slidenum">
              <a:rPr lang="es-PE" smtClean="0">
                <a:solidFill>
                  <a:prstClr val="black">
                    <a:tint val="75000"/>
                  </a:prstClr>
                </a:solidFill>
              </a:rPr>
              <a:t>‹Nº›</a:t>
            </a:fld>
            <a:endParaRPr lang="es-PE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/>
        </p:nvPicPr>
        <p:blipFill>
          <a:blip r:embed="rId2" cstate="email"/>
          <a:stretch>
            <a:fillRect/>
          </a:stretch>
        </p:blipFill>
        <p:spPr>
          <a:xfrm>
            <a:off x="6854" y="0"/>
            <a:ext cx="12185146" cy="6861858"/>
          </a:xfrm>
          <a:prstGeom prst="rect">
            <a:avLst/>
          </a:prstGeom>
        </p:spPr>
      </p:pic>
      <p:pic>
        <p:nvPicPr>
          <p:cNvPr id="3" name="Imagen 2"/>
          <p:cNvPicPr>
            <a:picLocks noChangeAspect="1"/>
          </p:cNvPicPr>
          <p:nvPr userDrawn="1"/>
        </p:nvPicPr>
        <p:blipFill>
          <a:blip r:embed="rId2" cstate="email"/>
          <a:stretch>
            <a:fillRect/>
          </a:stretch>
        </p:blipFill>
        <p:spPr>
          <a:xfrm>
            <a:off x="6854" y="0"/>
            <a:ext cx="12185146" cy="686185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 smtClean="0"/>
              <a:t>Haga clic para modificar el estilo de título del patrón</a:t>
            </a:r>
            <a:endParaRPr lang="es-PE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 smtClean="0"/>
              <a:t>Haga clic para editar el estilo de subtítulo del patrón</a:t>
            </a:r>
            <a:endParaRPr lang="es-PE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95E9F7-A007-466E-BF53-879BD68386A6}" type="datetimeFigureOut">
              <a:rPr lang="es-PE" smtClean="0"/>
              <a:t>14/09/2020</a:t>
            </a:fld>
            <a:endParaRPr lang="es-PE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PE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BA7298-4D5C-400F-99E8-E771135240DC}" type="slidenum">
              <a:rPr lang="es-PE" smtClean="0"/>
              <a:t>‹Nº›</a:t>
            </a:fld>
            <a:endParaRPr lang="es-P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9"/>
          <a:stretch>
            <a:fillRect/>
          </a:stretch>
        </a:blip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hape 10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599" cy="1325562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lnSpc>
                <a:spcPct val="90000"/>
              </a:lnSpc>
              <a:spcBef>
                <a:spcPts val="0"/>
              </a:spcBef>
              <a:buClr>
                <a:schemeClr val="dk1"/>
              </a:buClr>
              <a:buFont typeface="Calibri" panose="020F0502020204030204"/>
              <a:buNone/>
              <a:defRPr sz="44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1pPr>
            <a:lvl2pPr lvl="1" indent="0">
              <a:spcBef>
                <a:spcPts val="0"/>
              </a:spcBef>
              <a:buNone/>
              <a:defRPr sz="1800"/>
            </a:lvl2pPr>
            <a:lvl3pPr lvl="2" indent="0">
              <a:spcBef>
                <a:spcPts val="0"/>
              </a:spcBef>
              <a:buNone/>
              <a:defRPr sz="1800"/>
            </a:lvl3pPr>
            <a:lvl4pPr lvl="3" indent="0">
              <a:spcBef>
                <a:spcPts val="0"/>
              </a:spcBef>
              <a:buNone/>
              <a:defRPr sz="1800"/>
            </a:lvl4pPr>
            <a:lvl5pPr lvl="4" indent="0">
              <a:spcBef>
                <a:spcPts val="0"/>
              </a:spcBef>
              <a:buNone/>
              <a:defRPr sz="1800"/>
            </a:lvl5pPr>
            <a:lvl6pPr lvl="5" indent="0">
              <a:spcBef>
                <a:spcPts val="0"/>
              </a:spcBef>
              <a:buNone/>
              <a:defRPr sz="1800"/>
            </a:lvl6pPr>
            <a:lvl7pPr lvl="6" indent="0">
              <a:spcBef>
                <a:spcPts val="0"/>
              </a:spcBef>
              <a:buNone/>
              <a:defRPr sz="1800"/>
            </a:lvl7pPr>
            <a:lvl8pPr lvl="7" indent="0">
              <a:spcBef>
                <a:spcPts val="0"/>
              </a:spcBef>
              <a:buNone/>
              <a:defRPr sz="1800"/>
            </a:lvl8pPr>
            <a:lvl9pPr lvl="8" indent="0">
              <a:spcBef>
                <a:spcPts val="0"/>
              </a:spcBef>
              <a:buNone/>
              <a:defRPr sz="1800"/>
            </a:lvl9pPr>
          </a:lstStyle>
          <a:p>
            <a:endParaRPr/>
          </a:p>
        </p:txBody>
      </p:sp>
      <p:sp>
        <p:nvSpPr>
          <p:cNvPr id="11" name="Shape 11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599" cy="4351338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/>
          <a:lstStyle>
            <a:lvl1pPr marL="228600" marR="0" lvl="0" indent="-50800" algn="l" rtl="0">
              <a:lnSpc>
                <a:spcPct val="90000"/>
              </a:lnSpc>
              <a:spcBef>
                <a:spcPts val="1000"/>
              </a:spcBef>
              <a:buClr>
                <a:schemeClr val="dk1"/>
              </a:buClr>
              <a:buSzPct val="100000"/>
              <a:buFont typeface="Arial" panose="020B0604020202020204"/>
              <a:buChar char="•"/>
              <a:defRPr sz="2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1pPr>
            <a:lvl2pPr marL="685800" marR="0" lvl="1" indent="-762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 panose="020B0604020202020204"/>
              <a:buChar char="•"/>
              <a:defRPr sz="24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2pPr>
            <a:lvl3pPr marL="1143000" marR="0" lvl="2" indent="-1016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 panose="020B0604020202020204"/>
              <a:buChar char="•"/>
              <a:defRPr sz="20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3pPr>
            <a:lvl4pPr marL="1600200" marR="0" lvl="3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4pPr>
            <a:lvl5pPr marL="2057400" marR="0" lvl="4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5pPr>
            <a:lvl6pPr marL="2514600" marR="0" lvl="5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6pPr>
            <a:lvl7pPr marL="2971800" marR="0" lvl="6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7pPr>
            <a:lvl8pPr marL="3429000" marR="0" lvl="7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8pPr>
            <a:lvl9pPr marL="3886200" marR="0" lvl="8" indent="-114300" algn="l" rtl="0">
              <a:lnSpc>
                <a:spcPct val="90000"/>
              </a:lnSpc>
              <a:spcBef>
                <a:spcPts val="500"/>
              </a:spcBef>
              <a:buClr>
                <a:schemeClr val="dk1"/>
              </a:buClr>
              <a:buSzPct val="100000"/>
              <a:buFont typeface="Arial" panose="020B0604020202020204"/>
              <a:buChar char="•"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9pPr>
          </a:lstStyle>
          <a:p>
            <a:endParaRPr/>
          </a:p>
        </p:txBody>
      </p:sp>
      <p:sp>
        <p:nvSpPr>
          <p:cNvPr id="12" name="Shape 1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199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9pPr>
          </a:lstStyle>
          <a:p>
            <a:endParaRPr/>
          </a:p>
        </p:txBody>
      </p:sp>
      <p:sp>
        <p:nvSpPr>
          <p:cNvPr id="13" name="Shape 1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ctr" anchorCtr="0"/>
          <a:lstStyle>
            <a:lvl1pPr marL="0" marR="0" lvl="0" indent="0" algn="ctr" rtl="0">
              <a:spcBef>
                <a:spcPts val="0"/>
              </a:spcBef>
              <a:buNone/>
              <a:defRPr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1pPr>
            <a:lvl2pPr marL="457200" marR="0" lvl="1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2pPr>
            <a:lvl3pPr marL="914400" marR="0" lvl="2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3pPr>
            <a:lvl4pPr marL="1371600" marR="0" lvl="3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4pPr>
            <a:lvl5pPr marL="1828800" marR="0" lvl="4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5pPr>
            <a:lvl6pPr marL="2286000" marR="0" lvl="5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6pPr>
            <a:lvl7pPr marL="2743200" marR="0" lvl="6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7pPr>
            <a:lvl8pPr marL="3200400" marR="0" lvl="7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8pPr>
            <a:lvl9pPr marL="3657600" marR="0" lvl="8" indent="0" algn="l" rtl="0">
              <a:spcBef>
                <a:spcPts val="0"/>
              </a:spcBef>
              <a:buNone/>
              <a:defRPr sz="18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9pPr>
          </a:lstStyle>
          <a:p>
            <a:endParaRPr/>
          </a:p>
        </p:txBody>
      </p:sp>
      <p:sp>
        <p:nvSpPr>
          <p:cNvPr id="14" name="Shape 14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199" cy="365125"/>
          </a:xfrm>
          <a:prstGeom prst="rect">
            <a:avLst/>
          </a:prstGeom>
          <a:noFill/>
          <a:ln>
            <a:noFill/>
          </a:ln>
        </p:spPr>
        <p:txBody>
          <a:bodyPr lIns="91425" tIns="45700" rIns="91425" bIns="4570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s-ES" sz="1200" b="0" i="0" u="none" strike="noStrike" cap="none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  <a:t>‹Nº›</a:t>
            </a:fld>
            <a:endParaRPr lang="es-ES" sz="1200" b="0" i="0" u="none" strike="noStrike" cap="none">
              <a:solidFill>
                <a:srgbClr val="888888"/>
              </a:solidFill>
              <a:latin typeface="Calibri" panose="020F0502020204030204"/>
              <a:ea typeface="Calibri" panose="020F0502020204030204"/>
              <a:cs typeface="Calibri" panose="020F0502020204030204"/>
              <a:sym typeface="Calibri" panose="020F0502020204030204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1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None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microsoft.com/office/2007/relationships/diagramDrawing" Target="../diagrams/drawing6.xml"/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12" Type="http://schemas.openxmlformats.org/officeDocument/2006/relationships/diagramColors" Target="../diagrams/colors6.xml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5.xml"/><Relationship Id="rId11" Type="http://schemas.openxmlformats.org/officeDocument/2006/relationships/diagramQuickStyle" Target="../diagrams/quickStyle6.xml"/><Relationship Id="rId5" Type="http://schemas.openxmlformats.org/officeDocument/2006/relationships/diagramQuickStyle" Target="../diagrams/quickStyle5.xml"/><Relationship Id="rId10" Type="http://schemas.openxmlformats.org/officeDocument/2006/relationships/diagramLayout" Target="../diagrams/layout6.xml"/><Relationship Id="rId4" Type="http://schemas.openxmlformats.org/officeDocument/2006/relationships/diagramLayout" Target="../diagrams/layout5.xml"/><Relationship Id="rId9" Type="http://schemas.openxmlformats.org/officeDocument/2006/relationships/diagramData" Target="../diagrams/data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diagramLayout" Target="../diagrams/layout7.xml"/><Relationship Id="rId7" Type="http://schemas.openxmlformats.org/officeDocument/2006/relationships/image" Target="../media/image4.png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7.xml"/><Relationship Id="rId11" Type="http://schemas.openxmlformats.org/officeDocument/2006/relationships/image" Target="../media/image22.png"/><Relationship Id="rId5" Type="http://schemas.openxmlformats.org/officeDocument/2006/relationships/diagramColors" Target="../diagrams/colors7.xml"/><Relationship Id="rId10" Type="http://schemas.openxmlformats.org/officeDocument/2006/relationships/image" Target="../media/image21.png"/><Relationship Id="rId4" Type="http://schemas.openxmlformats.org/officeDocument/2006/relationships/diagramQuickStyle" Target="../diagrams/quickStyle7.xml"/><Relationship Id="rId9" Type="http://schemas.openxmlformats.org/officeDocument/2006/relationships/image" Target="../media/image20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GIF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diagramLayout" Target="../diagrams/layout8.xml"/><Relationship Id="rId7" Type="http://schemas.openxmlformats.org/officeDocument/2006/relationships/image" Target="../media/image26.png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diagramData" Target="../diagrams/data9.xml"/><Relationship Id="rId7" Type="http://schemas.microsoft.com/office/2007/relationships/diagramDrawing" Target="../diagrams/drawing9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9.xml"/><Relationship Id="rId5" Type="http://schemas.openxmlformats.org/officeDocument/2006/relationships/diagramQuickStyle" Target="../diagrams/quickStyle9.xml"/><Relationship Id="rId4" Type="http://schemas.openxmlformats.org/officeDocument/2006/relationships/diagramLayout" Target="../diagrams/layout9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diagramData" Target="../diagrams/data10.xml"/><Relationship Id="rId7" Type="http://schemas.microsoft.com/office/2007/relationships/diagramDrawing" Target="../diagrams/drawing10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10.xml"/><Relationship Id="rId5" Type="http://schemas.openxmlformats.org/officeDocument/2006/relationships/diagramQuickStyle" Target="../diagrams/quickStyle10.xml"/><Relationship Id="rId4" Type="http://schemas.openxmlformats.org/officeDocument/2006/relationships/diagramLayout" Target="../diagrams/layout10.xml"/><Relationship Id="rId9" Type="http://schemas.openxmlformats.org/officeDocument/2006/relationships/image" Target="../media/image29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3" Type="http://schemas.openxmlformats.org/officeDocument/2006/relationships/diagramData" Target="../diagrams/data11.xml"/><Relationship Id="rId7" Type="http://schemas.microsoft.com/office/2007/relationships/diagramDrawing" Target="../diagrams/drawing11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11.xml"/><Relationship Id="rId5" Type="http://schemas.openxmlformats.org/officeDocument/2006/relationships/diagramQuickStyle" Target="../diagrams/quickStyle11.xml"/><Relationship Id="rId4" Type="http://schemas.openxmlformats.org/officeDocument/2006/relationships/diagramLayout" Target="../diagrams/layout11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jpeg"/><Relationship Id="rId3" Type="http://schemas.openxmlformats.org/officeDocument/2006/relationships/diagramData" Target="../diagrams/data12.xml"/><Relationship Id="rId7" Type="http://schemas.microsoft.com/office/2007/relationships/diagramDrawing" Target="../diagrams/drawing12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12.xml"/><Relationship Id="rId5" Type="http://schemas.openxmlformats.org/officeDocument/2006/relationships/diagramQuickStyle" Target="../diagrams/quickStyle12.xml"/><Relationship Id="rId4" Type="http://schemas.openxmlformats.org/officeDocument/2006/relationships/diagramLayout" Target="../diagrams/layout1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diagramLayout" Target="../diagrams/layout1.xml"/><Relationship Id="rId7" Type="http://schemas.openxmlformats.org/officeDocument/2006/relationships/image" Target="../media/image11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diagramLayout" Target="../diagrams/layout2.xml"/><Relationship Id="rId7" Type="http://schemas.openxmlformats.org/officeDocument/2006/relationships/image" Target="../media/image4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diagramLayout" Target="../diagrams/layout4.xml"/><Relationship Id="rId7" Type="http://schemas.openxmlformats.org/officeDocument/2006/relationships/image" Target="../media/image4.png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s-PE" smtClean="0"/>
              <a:t>1</a:t>
            </a:fld>
            <a:endParaRPr lang="es-PE"/>
          </a:p>
        </p:txBody>
      </p:sp>
      <p:sp>
        <p:nvSpPr>
          <p:cNvPr id="4" name="CuadroTexto 3"/>
          <p:cNvSpPr txBox="1"/>
          <p:nvPr/>
        </p:nvSpPr>
        <p:spPr>
          <a:xfrm>
            <a:off x="656340" y="788096"/>
            <a:ext cx="11137096" cy="144655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 defTabSz="793115"/>
            <a:r>
              <a:rPr lang="es-PE" altLang="es-ES" sz="4400" b="1" kern="1200" dirty="0">
                <a:solidFill>
                  <a:srgbClr val="1F497D">
                    <a:lumMod val="60000"/>
                    <a:lumOff val="40000"/>
                  </a:srgbClr>
                </a:solidFill>
                <a:latin typeface="Roboto Slab Bold"/>
                <a:ea typeface="+mn-ea"/>
                <a:cs typeface="Roboto Slab Bold"/>
              </a:rPr>
              <a:t>Seminario: Evaluación Formativa y Retroalimentación</a:t>
            </a:r>
          </a:p>
        </p:txBody>
      </p:sp>
      <p:sp>
        <p:nvSpPr>
          <p:cNvPr id="5" name="Rectángulo 4"/>
          <p:cNvSpPr/>
          <p:nvPr/>
        </p:nvSpPr>
        <p:spPr>
          <a:xfrm>
            <a:off x="849630" y="2449830"/>
            <a:ext cx="10944860" cy="7067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793115"/>
            <a:r>
              <a:rPr lang="es-ES" sz="2000" b="1" kern="1200" dirty="0">
                <a:solidFill>
                  <a:prstClr val="white">
                    <a:lumMod val="50000"/>
                  </a:prstClr>
                </a:solidFill>
                <a:latin typeface="Calibri" panose="020F0502020204030204"/>
                <a:ea typeface="+mn-ea"/>
                <a:cs typeface="+mn-cs"/>
              </a:rPr>
              <a:t>EN EL MARCO DE ESTRATEGIA NACIONAL APRENDO EN CASA Y EL ESTADO DE EMERGENCIA COVID 19 RVM  094-2020-MINEDU</a:t>
            </a:r>
          </a:p>
        </p:txBody>
      </p:sp>
      <p:sp>
        <p:nvSpPr>
          <p:cNvPr id="6" name="Rectángulo 5"/>
          <p:cNvSpPr/>
          <p:nvPr/>
        </p:nvSpPr>
        <p:spPr>
          <a:xfrm>
            <a:off x="1043355" y="8355225"/>
            <a:ext cx="2300630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793115"/>
            <a:r>
              <a:rPr lang="es-ES" sz="3200" b="1" kern="1200" dirty="0">
                <a:solidFill>
                  <a:srgbClr val="0070C0"/>
                </a:solidFill>
                <a:latin typeface="Roboto Slab Bold"/>
                <a:ea typeface="+mn-ea"/>
                <a:cs typeface="Roboto Slab Bold"/>
              </a:rPr>
              <a:t>Julio 2020 </a:t>
            </a:r>
            <a:endParaRPr lang="es-ES" sz="1800" b="1" kern="1200" dirty="0">
              <a:solidFill>
                <a:srgbClr val="0070C0"/>
              </a:solidFill>
              <a:latin typeface="Roboto Slab Bold"/>
              <a:ea typeface="+mn-ea"/>
              <a:cs typeface="Roboto Slab Bold"/>
            </a:endParaRPr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76452" y="3700253"/>
            <a:ext cx="8296874" cy="2838659"/>
          </a:xfrm>
          <a:prstGeom prst="rect">
            <a:avLst/>
          </a:prstGeom>
        </p:spPr>
      </p:pic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7288" y="0"/>
            <a:ext cx="5907088" cy="579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08722" y="2991712"/>
            <a:ext cx="3169422" cy="3542112"/>
          </a:xfrm>
          <a:prstGeom prst="rect">
            <a:avLst/>
          </a:prstGeom>
        </p:spPr>
      </p:pic>
      <p:graphicFrame>
        <p:nvGraphicFramePr>
          <p:cNvPr id="5" name="Diagrama 4"/>
          <p:cNvGraphicFramePr/>
          <p:nvPr/>
        </p:nvGraphicFramePr>
        <p:xfrm>
          <a:off x="-1430655" y="170815"/>
          <a:ext cx="10591495" cy="61360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" name="Rectángulo 5"/>
          <p:cNvSpPr/>
          <p:nvPr/>
        </p:nvSpPr>
        <p:spPr>
          <a:xfrm>
            <a:off x="460093" y="5830722"/>
            <a:ext cx="4244412" cy="768350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 wrap="square">
            <a:spAutoFit/>
          </a:bodyPr>
          <a:lstStyle/>
          <a:p>
            <a:pPr algn="just"/>
            <a:r>
              <a:rPr lang="es-PE" sz="1100" b="1" dirty="0" smtClean="0">
                <a:solidFill>
                  <a:schemeClr val="bg1"/>
                </a:solidFill>
              </a:rPr>
              <a:t>5.1.1.2 </a:t>
            </a:r>
            <a:r>
              <a:rPr lang="es-ES" sz="1100" b="1" dirty="0" smtClean="0">
                <a:solidFill>
                  <a:schemeClr val="bg1"/>
                </a:solidFill>
                <a:cs typeface="Arial" panose="020B0604020202020204" pitchFamily="34" charset="0"/>
              </a:rPr>
              <a:t>IMPLEMENTACIÓN DE LA EVALUACIÓN PARA EL APRENDIZAJE </a:t>
            </a:r>
            <a:r>
              <a:rPr lang="es-ES" sz="1100" b="1" dirty="0" smtClean="0">
                <a:solidFill>
                  <a:schemeClr val="bg1"/>
                </a:solidFill>
              </a:rPr>
              <a:t>RVM </a:t>
            </a:r>
            <a:r>
              <a:rPr lang="es-PE" sz="1100" b="1" dirty="0">
                <a:solidFill>
                  <a:schemeClr val="bg1"/>
                </a:solidFill>
              </a:rPr>
              <a:t>N° </a:t>
            </a:r>
            <a:r>
              <a:rPr lang="es-PE" sz="1100" b="1" dirty="0" smtClean="0">
                <a:solidFill>
                  <a:schemeClr val="bg1"/>
                </a:solidFill>
              </a:rPr>
              <a:t>094-2020-MINEDU </a:t>
            </a:r>
            <a:r>
              <a:rPr lang="es-PE" sz="1100" b="1" dirty="0">
                <a:solidFill>
                  <a:schemeClr val="bg1"/>
                </a:solidFill>
              </a:rPr>
              <a:t>“Norma que regula la Evaluación de las competencias de los Estudiantes de Educación Básica</a:t>
            </a:r>
            <a:r>
              <a:rPr lang="es-PE" sz="1100" b="1" dirty="0" smtClean="0">
                <a:solidFill>
                  <a:schemeClr val="bg1"/>
                </a:solidFill>
              </a:rPr>
              <a:t>”</a:t>
            </a:r>
            <a:endParaRPr lang="en-US" sz="1100" dirty="0">
              <a:solidFill>
                <a:schemeClr val="tx1"/>
              </a:solidFill>
            </a:endParaRPr>
          </a:p>
        </p:txBody>
      </p:sp>
      <p:pic>
        <p:nvPicPr>
          <p:cNvPr id="7" name="Picture 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4912" y="0"/>
            <a:ext cx="5907088" cy="579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2" name="Diagrama 1"/>
          <p:cNvGraphicFramePr/>
          <p:nvPr/>
        </p:nvGraphicFramePr>
        <p:xfrm>
          <a:off x="6629474" y="741963"/>
          <a:ext cx="5562526" cy="218548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4" name="Rectángulo 3"/>
          <p:cNvSpPr/>
          <p:nvPr/>
        </p:nvSpPr>
        <p:spPr>
          <a:xfrm>
            <a:off x="255883" y="4910496"/>
            <a:ext cx="564375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b="1" dirty="0"/>
              <a:t>La </a:t>
            </a:r>
            <a:r>
              <a:rPr lang="en-US" b="1" dirty="0" err="1"/>
              <a:t>retroalimentación</a:t>
            </a:r>
            <a:r>
              <a:rPr lang="en-US" b="1" dirty="0"/>
              <a:t> </a:t>
            </a:r>
            <a:r>
              <a:rPr lang="en-US" b="1" dirty="0" err="1"/>
              <a:t>brindada</a:t>
            </a:r>
            <a:r>
              <a:rPr lang="en-US" b="1" dirty="0"/>
              <a:t> </a:t>
            </a:r>
            <a:r>
              <a:rPr lang="en-US" b="1" dirty="0" err="1"/>
              <a:t>por</a:t>
            </a:r>
            <a:r>
              <a:rPr lang="en-US" b="1" dirty="0"/>
              <a:t> el </a:t>
            </a:r>
            <a:r>
              <a:rPr lang="en-US" b="1" dirty="0" err="1"/>
              <a:t>docente</a:t>
            </a:r>
            <a:r>
              <a:rPr lang="en-US" b="1" dirty="0"/>
              <a:t> </a:t>
            </a:r>
            <a:r>
              <a:rPr lang="en-US" b="1" dirty="0" err="1"/>
              <a:t>puede</a:t>
            </a:r>
            <a:r>
              <a:rPr lang="en-US" b="1" dirty="0"/>
              <a:t> </a:t>
            </a:r>
            <a:r>
              <a:rPr lang="en-US" b="1" dirty="0" err="1"/>
              <a:t>darse</a:t>
            </a:r>
            <a:r>
              <a:rPr lang="en-US" b="1" dirty="0"/>
              <a:t> de </a:t>
            </a:r>
            <a:r>
              <a:rPr lang="en-US" b="1" dirty="0" err="1"/>
              <a:t>manera</a:t>
            </a:r>
            <a:r>
              <a:rPr lang="en-US" b="1" dirty="0"/>
              <a:t> formal o informal, oral o </a:t>
            </a:r>
            <a:r>
              <a:rPr lang="en-US" b="1" dirty="0" err="1"/>
              <a:t>escrita</a:t>
            </a:r>
            <a:r>
              <a:rPr lang="en-US" b="1" dirty="0"/>
              <a:t>, individual o </a:t>
            </a:r>
            <a:r>
              <a:rPr lang="en-US" b="1" dirty="0" err="1"/>
              <a:t>grupal</a:t>
            </a:r>
            <a:r>
              <a:rPr lang="en-US" b="1" dirty="0"/>
              <a:t> y se </a:t>
            </a:r>
            <a:r>
              <a:rPr lang="en-US" b="1" dirty="0" err="1"/>
              <a:t>puede</a:t>
            </a:r>
            <a:r>
              <a:rPr lang="en-US" b="1" dirty="0"/>
              <a:t> </a:t>
            </a:r>
            <a:r>
              <a:rPr lang="en-US" b="1" dirty="0" err="1"/>
              <a:t>realizar</a:t>
            </a:r>
            <a:r>
              <a:rPr lang="en-US" b="1" dirty="0"/>
              <a:t> </a:t>
            </a:r>
            <a:r>
              <a:rPr lang="en-US" b="1" dirty="0" err="1"/>
              <a:t>utilizando</a:t>
            </a:r>
            <a:r>
              <a:rPr lang="en-US" b="1" dirty="0"/>
              <a:t> </a:t>
            </a:r>
            <a:r>
              <a:rPr lang="en-US" b="1" dirty="0" err="1"/>
              <a:t>diferentes</a:t>
            </a:r>
            <a:r>
              <a:rPr lang="en-US" b="1" dirty="0"/>
              <a:t> </a:t>
            </a:r>
            <a:r>
              <a:rPr lang="en-US" b="1" dirty="0" err="1"/>
              <a:t>instrumentos</a:t>
            </a:r>
            <a:r>
              <a:rPr lang="en-US" b="1" dirty="0"/>
              <a:t>.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a 1"/>
          <p:cNvGraphicFramePr/>
          <p:nvPr/>
        </p:nvGraphicFramePr>
        <p:xfrm>
          <a:off x="2373832" y="839307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3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431" y="259870"/>
            <a:ext cx="5907088" cy="579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ctángulo 3"/>
          <p:cNvSpPr/>
          <p:nvPr/>
        </p:nvSpPr>
        <p:spPr>
          <a:xfrm>
            <a:off x="6595395" y="5900426"/>
            <a:ext cx="5410331" cy="937260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 wrap="square">
            <a:spAutoFit/>
          </a:bodyPr>
          <a:lstStyle/>
          <a:p>
            <a:pPr algn="just"/>
            <a:r>
              <a:rPr lang="es-PE" sz="1100" b="1" dirty="0" smtClean="0">
                <a:solidFill>
                  <a:schemeClr val="bg1"/>
                </a:solidFill>
              </a:rPr>
              <a:t>7.1.4 MONITOREO, EVALUACION Y RETROALIMENTACION AL PROCESO DE APRENDIZAJE</a:t>
            </a:r>
          </a:p>
          <a:p>
            <a:pPr algn="just"/>
            <a:r>
              <a:rPr lang="es-ES" sz="1100" b="1" dirty="0" smtClean="0">
                <a:solidFill>
                  <a:schemeClr val="bg1"/>
                </a:solidFill>
              </a:rPr>
              <a:t>RVM </a:t>
            </a:r>
            <a:r>
              <a:rPr lang="es-PE" sz="1100" b="1" dirty="0">
                <a:solidFill>
                  <a:schemeClr val="bg1"/>
                </a:solidFill>
              </a:rPr>
              <a:t>N° </a:t>
            </a:r>
            <a:r>
              <a:rPr lang="es-PE" sz="1100" b="1" dirty="0" smtClean="0">
                <a:solidFill>
                  <a:schemeClr val="bg1"/>
                </a:solidFill>
              </a:rPr>
              <a:t>093-2020-MINEDU “Orientaciones pedagógicas para el servicio educativo de Educación Básica durante el año 2020 en el marco de la emergencia sanitaria por el Coronavirus COVID-19”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6" name="Rectángulo 5"/>
          <p:cNvSpPr/>
          <p:nvPr/>
        </p:nvSpPr>
        <p:spPr>
          <a:xfrm>
            <a:off x="358924" y="2507630"/>
            <a:ext cx="231591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PE" b="1" dirty="0">
                <a:solidFill>
                  <a:srgbClr val="7030A0"/>
                </a:solidFill>
              </a:rPr>
              <a:t>MONITOREO, EVALUACION Y RETROALIMENTACION AL PROCESO DE </a:t>
            </a:r>
            <a:r>
              <a:rPr lang="es-PE" b="1" dirty="0" smtClean="0">
                <a:solidFill>
                  <a:srgbClr val="7030A0"/>
                </a:solidFill>
              </a:rPr>
              <a:t>APRENDIZAJE</a:t>
            </a:r>
          </a:p>
          <a:p>
            <a:pPr algn="ctr"/>
            <a:r>
              <a:rPr lang="es-PE" b="1" dirty="0" smtClean="0">
                <a:solidFill>
                  <a:srgbClr val="7030A0"/>
                </a:solidFill>
              </a:rPr>
              <a:t>(modalidad a distancia)</a:t>
            </a:r>
            <a:endParaRPr lang="es-PE" b="1" dirty="0">
              <a:solidFill>
                <a:srgbClr val="7030A0"/>
              </a:solidFill>
            </a:endParaRPr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01443" y="3523292"/>
            <a:ext cx="1269726" cy="1269726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9" name="Picture 2" descr="https://www.enfoquederecho.com/wp-content/uploads/2020/03/trabajo-remoto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9379" y="1177718"/>
            <a:ext cx="1102285" cy="1040194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Imagen 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429379" y="4868736"/>
            <a:ext cx="1238981" cy="113329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2" name="Imagen 11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938247" y="2320947"/>
            <a:ext cx="1075192" cy="1203423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4"/>
          <p:cNvSpPr/>
          <p:nvPr/>
        </p:nvSpPr>
        <p:spPr>
          <a:xfrm>
            <a:off x="131580" y="150040"/>
            <a:ext cx="18473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es-PE" sz="2400" b="1" dirty="0">
              <a:solidFill>
                <a:srgbClr val="C00000"/>
              </a:solidFill>
              <a:latin typeface="Kozuka Mincho Pro H" panose="02020A00000000000000" pitchFamily="18" charset="-128"/>
              <a:ea typeface="Kozuka Mincho Pro H" panose="02020A00000000000000" pitchFamily="18" charset="-128"/>
            </a:endParaRPr>
          </a:p>
        </p:txBody>
      </p:sp>
      <p:sp>
        <p:nvSpPr>
          <p:cNvPr id="9" name="Rectángulo 8"/>
          <p:cNvSpPr/>
          <p:nvPr/>
        </p:nvSpPr>
        <p:spPr>
          <a:xfrm>
            <a:off x="620658" y="1177771"/>
            <a:ext cx="6272012" cy="508757"/>
          </a:xfrm>
          <a:prstGeom prst="rect">
            <a:avLst/>
          </a:prstGeom>
          <a:solidFill>
            <a:srgbClr val="FFFF00"/>
          </a:solidFill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PE" sz="3600" dirty="0">
                <a:solidFill>
                  <a:srgbClr val="FF0000"/>
                </a:solidFill>
              </a:rPr>
              <a:t>RETROALIMENTACIÓN</a:t>
            </a:r>
          </a:p>
        </p:txBody>
      </p:sp>
      <p:sp>
        <p:nvSpPr>
          <p:cNvPr id="11" name="Rectángulo redondeado 10"/>
          <p:cNvSpPr/>
          <p:nvPr/>
        </p:nvSpPr>
        <p:spPr>
          <a:xfrm>
            <a:off x="131570" y="2907751"/>
            <a:ext cx="8036417" cy="2331077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r>
              <a:rPr lang="es-PE" dirty="0"/>
              <a:t>Consiste en </a:t>
            </a:r>
            <a:r>
              <a:rPr lang="es-PE" b="1" dirty="0"/>
              <a:t>devolver a la persona, información que describa sus logros o progresos en relación con los criterios de evaluación</a:t>
            </a:r>
            <a:r>
              <a:rPr lang="es-PE" dirty="0"/>
              <a:t>. Una retroalimentación es eficaz cuando se observa las actuaciones y/o producciones de la persona evaluada, se identifica sus aciertos, errores recurrentes y los aspectos que más atención requieren; y a partir de ello brinda información oportuna que lo lleve a reflexionar sobre dichos aspectos y a la búsqueda de estrategias que le permitan mejorar sus aprendizajes.</a:t>
            </a:r>
          </a:p>
        </p:txBody>
      </p:sp>
      <p:pic>
        <p:nvPicPr>
          <p:cNvPr id="2050" name="Picture 2" descr="UGEL | SECHURA"/>
          <p:cNvPicPr>
            <a:picLocks noChangeAspect="1" noChangeArrowheads="1" noCrop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68097" y="342524"/>
            <a:ext cx="3840942" cy="38409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91" y="54022"/>
            <a:ext cx="5498270" cy="5165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Cuadro de texto 1"/>
          <p:cNvSpPr txBox="1"/>
          <p:nvPr/>
        </p:nvSpPr>
        <p:spPr>
          <a:xfrm>
            <a:off x="4653915" y="5443855"/>
            <a:ext cx="3298190" cy="306705"/>
          </a:xfrm>
          <a:prstGeom prst="rect">
            <a:avLst/>
          </a:prstGeom>
          <a:solidFill>
            <a:srgbClr val="FFFF00"/>
          </a:solidFill>
        </p:spPr>
        <p:txBody>
          <a:bodyPr wrap="none" rtlCol="0" anchor="t">
            <a:spAutoFit/>
          </a:bodyPr>
          <a:lstStyle/>
          <a:p>
            <a:pPr algn="just"/>
            <a:r>
              <a:rPr lang="es-PE" dirty="0">
                <a:sym typeface="+mn-ea"/>
              </a:rPr>
              <a:t> </a:t>
            </a:r>
            <a:r>
              <a:rPr lang="es-PE" b="1" dirty="0">
                <a:sym typeface="+mn-ea"/>
              </a:rPr>
              <a:t>RVM 094-2020, Glosario de término</a:t>
            </a:r>
            <a:r>
              <a:rPr lang="es-PE" dirty="0">
                <a:sym typeface="+mn-ea"/>
              </a:rPr>
              <a:t>s</a:t>
            </a:r>
            <a:endParaRPr lang="es-ES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4"/>
          <p:cNvSpPr/>
          <p:nvPr/>
        </p:nvSpPr>
        <p:spPr>
          <a:xfrm>
            <a:off x="131580" y="150040"/>
            <a:ext cx="18473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es-PE" sz="2400" b="1" dirty="0">
              <a:solidFill>
                <a:srgbClr val="C00000"/>
              </a:solidFill>
              <a:latin typeface="Kozuka Mincho Pro H" panose="02020A00000000000000" pitchFamily="18" charset="-128"/>
              <a:ea typeface="Kozuka Mincho Pro H" panose="02020A00000000000000" pitchFamily="18" charset="-128"/>
            </a:endParaRPr>
          </a:p>
        </p:txBody>
      </p:sp>
      <p:sp>
        <p:nvSpPr>
          <p:cNvPr id="4" name="Rectángulo 3"/>
          <p:cNvSpPr/>
          <p:nvPr/>
        </p:nvSpPr>
        <p:spPr>
          <a:xfrm>
            <a:off x="493690" y="923068"/>
            <a:ext cx="8577849" cy="903413"/>
          </a:xfrm>
          <a:prstGeom prst="rect">
            <a:avLst/>
          </a:prstGeom>
          <a:solidFill>
            <a:srgbClr val="FFFF00"/>
          </a:solidFill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PE" sz="2000" b="1" dirty="0">
                <a:solidFill>
                  <a:schemeClr val="tx1"/>
                </a:solidFill>
              </a:rPr>
              <a:t>¿Cómo realizar la retroalimentación  formativa en este escenario de aislamiento social? (REBECA ANIJOVICH)</a:t>
            </a:r>
          </a:p>
        </p:txBody>
      </p:sp>
      <p:sp>
        <p:nvSpPr>
          <p:cNvPr id="7" name="Rectángulo redondeado 6"/>
          <p:cNvSpPr/>
          <p:nvPr/>
        </p:nvSpPr>
        <p:spPr>
          <a:xfrm>
            <a:off x="493690" y="2477676"/>
            <a:ext cx="5602310" cy="1674253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r>
              <a:rPr lang="es-PE" b="1" dirty="0"/>
              <a:t>No se trata de convertir un curso presencial en un curso virtual </a:t>
            </a:r>
            <a:r>
              <a:rPr lang="es-PE" dirty="0"/>
              <a:t>porque es otra la dinámica, porque los estudiantes están del otro lado solos, porque en cada familia hay historias y modos de abordar esta crisis de manera diferente</a:t>
            </a:r>
          </a:p>
        </p:txBody>
      </p:sp>
      <p:sp>
        <p:nvSpPr>
          <p:cNvPr id="12" name="Rectángulo redondeado 11"/>
          <p:cNvSpPr/>
          <p:nvPr/>
        </p:nvSpPr>
        <p:spPr>
          <a:xfrm>
            <a:off x="6493584" y="2806556"/>
            <a:ext cx="5602310" cy="1674253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r>
              <a:rPr lang="es-PE" dirty="0"/>
              <a:t>Hay una dinámica en la Retroalimentación Formativa que tiene que ver con el vínculo: “</a:t>
            </a:r>
            <a:r>
              <a:rPr lang="es-PE" b="1" dirty="0"/>
              <a:t>cómo nos vamos a conectar con los estudiantes”. </a:t>
            </a:r>
          </a:p>
        </p:txBody>
      </p:sp>
      <p:sp>
        <p:nvSpPr>
          <p:cNvPr id="13" name="Rectángulo redondeado 12"/>
          <p:cNvSpPr/>
          <p:nvPr/>
        </p:nvSpPr>
        <p:spPr>
          <a:xfrm>
            <a:off x="493690" y="4803125"/>
            <a:ext cx="5602310" cy="1674253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r>
              <a:rPr lang="es-PE" dirty="0"/>
              <a:t>Tenemos una preocupación (en este contexto de uso de tecnologías a distancia) de la Retroalimentación Formativa: </a:t>
            </a:r>
            <a:r>
              <a:rPr lang="es-PE" b="1" dirty="0"/>
              <a:t>¿Con cuánta claridad vamos a decir las cosas que decimos? ¿Cómo pensar que quién está del otro lado nos entiende? </a:t>
            </a:r>
          </a:p>
        </p:txBody>
      </p:sp>
      <p:pic>
        <p:nvPicPr>
          <p:cNvPr id="5122" name="Picture 2" descr="La educación a distancia, siempre mirada de reojo: ¿ahora con ...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3584" y="4803125"/>
            <a:ext cx="2857500" cy="160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91" y="54022"/>
            <a:ext cx="5498270" cy="5165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a 1"/>
          <p:cNvGraphicFramePr/>
          <p:nvPr/>
        </p:nvGraphicFramePr>
        <p:xfrm>
          <a:off x="312331" y="1702305"/>
          <a:ext cx="8128000" cy="414922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Pergamino horizontal 2"/>
          <p:cNvSpPr/>
          <p:nvPr/>
        </p:nvSpPr>
        <p:spPr>
          <a:xfrm>
            <a:off x="943934" y="332509"/>
            <a:ext cx="4134119" cy="1290622"/>
          </a:xfrm>
          <a:prstGeom prst="horizontalScroll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24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¿CÓMO RETROALIMENTAR?</a:t>
            </a:r>
          </a:p>
          <a:p>
            <a:pPr algn="ctr"/>
            <a:endParaRPr lang="es-PE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4" name="Flecha a la derecha con bandas 3"/>
          <p:cNvSpPr/>
          <p:nvPr/>
        </p:nvSpPr>
        <p:spPr>
          <a:xfrm rot="20085418">
            <a:off x="3084798" y="4614124"/>
            <a:ext cx="1790163" cy="746975"/>
          </a:xfrm>
          <a:prstGeom prst="striped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/>
          </a:p>
        </p:txBody>
      </p:sp>
      <p:sp>
        <p:nvSpPr>
          <p:cNvPr id="5" name="Redondear rectángulo de esquina diagonal 4"/>
          <p:cNvSpPr/>
          <p:nvPr/>
        </p:nvSpPr>
        <p:spPr>
          <a:xfrm>
            <a:off x="3010994" y="5851527"/>
            <a:ext cx="2899954" cy="842206"/>
          </a:xfrm>
          <a:prstGeom prst="round2Diag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b="1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RETROALIMENTACIÓN DE DANIEL WILSON</a:t>
            </a:r>
            <a:endParaRPr lang="es-PE" b="1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 rotWithShape="1">
          <a:blip r:embed="rId7"/>
          <a:srcRect l="17861" r="16179"/>
          <a:stretch>
            <a:fillRect/>
          </a:stretch>
        </p:blipFill>
        <p:spPr>
          <a:xfrm>
            <a:off x="8020552" y="2478504"/>
            <a:ext cx="1730828" cy="4215229"/>
          </a:xfrm>
          <a:prstGeom prst="rect">
            <a:avLst/>
          </a:prstGeom>
        </p:spPr>
      </p:pic>
      <p:sp>
        <p:nvSpPr>
          <p:cNvPr id="7" name="Llamada ovalada 6"/>
          <p:cNvSpPr/>
          <p:nvPr/>
        </p:nvSpPr>
        <p:spPr>
          <a:xfrm>
            <a:off x="8885966" y="647754"/>
            <a:ext cx="2852171" cy="2524738"/>
          </a:xfrm>
          <a:prstGeom prst="wedgeEllipse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14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Cuando los maestros, estudiantes, y personas en general están ofreciendo y recibiendo retroalimentación, se recomienda que la conversación tenga en cuenta  los cuatro pasos</a:t>
            </a:r>
            <a:endParaRPr lang="es-PE" sz="14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5237" y="25687"/>
            <a:ext cx="5498270" cy="5165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s-PE" smtClean="0"/>
              <a:t>15</a:t>
            </a:fld>
            <a:endParaRPr lang="es-PE"/>
          </a:p>
        </p:txBody>
      </p:sp>
      <p:pic>
        <p:nvPicPr>
          <p:cNvPr id="7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4912" y="0"/>
            <a:ext cx="5907088" cy="579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5" name="Marcador de contenido 3"/>
          <p:cNvGraphicFramePr>
            <a:graphicFrameLocks noGrp="1"/>
          </p:cNvGraphicFramePr>
          <p:nvPr>
            <p:ph idx="1"/>
          </p:nvPr>
        </p:nvGraphicFramePr>
        <p:xfrm>
          <a:off x="2614930" y="1202690"/>
          <a:ext cx="9323705" cy="50526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6" name="Imagen 5"/>
          <p:cNvPicPr>
            <a:picLocks noChangeAspect="1"/>
          </p:cNvPicPr>
          <p:nvPr/>
        </p:nvPicPr>
        <p:blipFill rotWithShape="1">
          <a:blip r:embed="rId8"/>
          <a:srcRect l="15266" r="16140"/>
          <a:stretch>
            <a:fillRect/>
          </a:stretch>
        </p:blipFill>
        <p:spPr>
          <a:xfrm>
            <a:off x="417830" y="2755265"/>
            <a:ext cx="2571115" cy="3817620"/>
          </a:xfrm>
          <a:prstGeom prst="rect">
            <a:avLst/>
          </a:prstGeom>
        </p:spPr>
      </p:pic>
      <p:sp>
        <p:nvSpPr>
          <p:cNvPr id="8" name="Pergamino horizontal 7"/>
          <p:cNvSpPr/>
          <p:nvPr/>
        </p:nvSpPr>
        <p:spPr>
          <a:xfrm>
            <a:off x="794385" y="113030"/>
            <a:ext cx="5755640" cy="1089660"/>
          </a:xfrm>
          <a:prstGeom prst="horizontalScroll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5400" dirty="0" smtClean="0">
                <a:solidFill>
                  <a:schemeClr val="tx1"/>
                </a:solidFill>
              </a:rPr>
              <a:t>1.CLARIFICAR</a:t>
            </a:r>
            <a:endParaRPr lang="es-PE" sz="5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s-PE" smtClean="0"/>
              <a:t>16</a:t>
            </a:fld>
            <a:endParaRPr lang="es-PE"/>
          </a:p>
        </p:txBody>
      </p:sp>
      <p:pic>
        <p:nvPicPr>
          <p:cNvPr id="7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4912" y="0"/>
            <a:ext cx="5907088" cy="579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Pergamino horizontal 3"/>
          <p:cNvSpPr/>
          <p:nvPr/>
        </p:nvSpPr>
        <p:spPr>
          <a:xfrm>
            <a:off x="6664234" y="496388"/>
            <a:ext cx="4885508" cy="1089797"/>
          </a:xfrm>
          <a:prstGeom prst="horizontalScroll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5400" dirty="0" smtClean="0">
                <a:solidFill>
                  <a:schemeClr val="tx1"/>
                </a:solidFill>
              </a:rPr>
              <a:t>2. VALORAR</a:t>
            </a:r>
            <a:endParaRPr lang="es-PE" sz="5400" dirty="0">
              <a:solidFill>
                <a:schemeClr val="tx1"/>
              </a:solidFill>
            </a:endParaRPr>
          </a:p>
        </p:txBody>
      </p:sp>
      <p:graphicFrame>
        <p:nvGraphicFramePr>
          <p:cNvPr id="6" name="Diagrama 5"/>
          <p:cNvGraphicFramePr/>
          <p:nvPr/>
        </p:nvGraphicFramePr>
        <p:xfrm>
          <a:off x="1595003" y="1586184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9" name="Imagen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723003" y="3341045"/>
            <a:ext cx="1991448" cy="1908945"/>
          </a:xfrm>
          <a:prstGeom prst="rect">
            <a:avLst/>
          </a:prstGeom>
        </p:spPr>
      </p:pic>
      <p:pic>
        <p:nvPicPr>
          <p:cNvPr id="10" name="Imagen 9"/>
          <p:cNvPicPr>
            <a:picLocks noChangeAspect="1"/>
          </p:cNvPicPr>
          <p:nvPr/>
        </p:nvPicPr>
        <p:blipFill rotWithShape="1">
          <a:blip r:embed="rId9"/>
          <a:srcRect l="10804" t="4130" r="9910" b="4264"/>
          <a:stretch>
            <a:fillRect/>
          </a:stretch>
        </p:blipFill>
        <p:spPr>
          <a:xfrm>
            <a:off x="1959610" y="262890"/>
            <a:ext cx="2633980" cy="2842895"/>
          </a:xfrm>
          <a:prstGeom prst="rect">
            <a:avLst/>
          </a:prstGeom>
        </p:spPr>
      </p:pic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s-PE" smtClean="0"/>
              <a:t>17</a:t>
            </a:fld>
            <a:endParaRPr lang="es-PE"/>
          </a:p>
        </p:txBody>
      </p:sp>
      <p:pic>
        <p:nvPicPr>
          <p:cNvPr id="7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4912" y="0"/>
            <a:ext cx="5907088" cy="579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4" name="Diagrama 3"/>
          <p:cNvGraphicFramePr/>
          <p:nvPr/>
        </p:nvGraphicFramePr>
        <p:xfrm>
          <a:off x="3864080" y="1828800"/>
          <a:ext cx="7685662" cy="472654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1026" name="Picture 2" descr="Ilustración Del Maestro De Escuela Profesor En Clase Ilustración ...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82" t="2286" r="16790" b="-1486"/>
          <a:stretch>
            <a:fillRect/>
          </a:stretch>
        </p:blipFill>
        <p:spPr bwMode="auto">
          <a:xfrm>
            <a:off x="418013" y="1828800"/>
            <a:ext cx="3184810" cy="41015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Pergamino horizontal 7"/>
          <p:cNvSpPr/>
          <p:nvPr/>
        </p:nvSpPr>
        <p:spPr>
          <a:xfrm>
            <a:off x="292735" y="754380"/>
            <a:ext cx="8100060" cy="1203325"/>
          </a:xfrm>
          <a:prstGeom prst="horizontalScroll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4400" dirty="0" smtClean="0">
                <a:solidFill>
                  <a:schemeClr val="tx1"/>
                </a:solidFill>
              </a:rPr>
              <a:t>3. EXPRESAR INQUIETUDES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s-PE" smtClean="0"/>
              <a:t>18</a:t>
            </a:fld>
            <a:endParaRPr lang="es-PE"/>
          </a:p>
        </p:txBody>
      </p:sp>
      <p:pic>
        <p:nvPicPr>
          <p:cNvPr id="7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4912" y="0"/>
            <a:ext cx="5907088" cy="579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5" name="Diagrama 4"/>
          <p:cNvGraphicFramePr/>
          <p:nvPr/>
        </p:nvGraphicFramePr>
        <p:xfrm>
          <a:off x="2032000" y="1959429"/>
          <a:ext cx="7425509" cy="41789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2050" name="Picture 2" descr="Cartoon Teacher, Teacher Clipart, Cartoon Clipart, Illustration ...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496" t="8000" r="19972" b="6572"/>
          <a:stretch>
            <a:fillRect/>
          </a:stretch>
        </p:blipFill>
        <p:spPr bwMode="auto">
          <a:xfrm>
            <a:off x="9557656" y="2383972"/>
            <a:ext cx="2117932" cy="37543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Pergamino horizontal 5"/>
          <p:cNvSpPr/>
          <p:nvPr/>
        </p:nvSpPr>
        <p:spPr>
          <a:xfrm>
            <a:off x="347345" y="747395"/>
            <a:ext cx="8702040" cy="822325"/>
          </a:xfrm>
          <a:prstGeom prst="horizontalScroll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5400" dirty="0" smtClean="0">
                <a:solidFill>
                  <a:schemeClr val="tx1"/>
                </a:solidFill>
              </a:rPr>
              <a:t>4.HACER SUGERENCIAS </a:t>
            </a:r>
            <a:endParaRPr lang="es-PE" sz="5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B4B4D-7CA3-9044-876B-883B54F8677D}" type="slidenum">
              <a:rPr lang="es-PE" smtClean="0"/>
              <a:t>19</a:t>
            </a:fld>
            <a:endParaRPr lang="es-PE"/>
          </a:p>
        </p:txBody>
      </p:sp>
      <p:pic>
        <p:nvPicPr>
          <p:cNvPr id="13" name="Picture 4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4270" y="23495"/>
            <a:ext cx="5906770" cy="5791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4" name="Google Shape;194;p23"/>
          <p:cNvSpPr txBox="1">
            <a:spLocks noGrp="1"/>
          </p:cNvSpPr>
          <p:nvPr>
            <p:ph type="title"/>
          </p:nvPr>
        </p:nvSpPr>
        <p:spPr>
          <a:xfrm>
            <a:off x="258860" y="527050"/>
            <a:ext cx="9842700" cy="104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Trebuchet MS" panose="020B0603020202020204"/>
              <a:buNone/>
            </a:pPr>
            <a:r>
              <a:rPr lang="es-PE" altLang="es-ES" b="1">
                <a:solidFill>
                  <a:srgbClr val="0070C0"/>
                </a:solidFill>
              </a:rPr>
              <a:t>FORMAS </a:t>
            </a:r>
            <a:r>
              <a:rPr lang="es-ES" b="1">
                <a:solidFill>
                  <a:srgbClr val="0070C0"/>
                </a:solidFill>
              </a:rPr>
              <a:t> DE RETROALIMENTACIÓN </a:t>
            </a:r>
            <a:endParaRPr b="1">
              <a:solidFill>
                <a:srgbClr val="0070C0"/>
              </a:solidFill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Trebuchet MS" panose="020B0603020202020204"/>
              <a:buNone/>
            </a:pPr>
            <a:r>
              <a:rPr lang="es-ES" sz="2200" b="1">
                <a:solidFill>
                  <a:srgbClr val="0070C0"/>
                </a:solidFill>
              </a:rPr>
              <a:t>R</a:t>
            </a:r>
            <a:r>
              <a:rPr lang="es-PE" altLang="es-ES" sz="2200" b="1">
                <a:solidFill>
                  <a:srgbClr val="0070C0"/>
                </a:solidFill>
              </a:rPr>
              <a:t>VM 094-2020-MINEDU</a:t>
            </a:r>
          </a:p>
        </p:txBody>
      </p:sp>
      <p:sp>
        <p:nvSpPr>
          <p:cNvPr id="2" name="Rectángulo redondeado 1"/>
          <p:cNvSpPr/>
          <p:nvPr/>
        </p:nvSpPr>
        <p:spPr>
          <a:xfrm>
            <a:off x="259080" y="1828165"/>
            <a:ext cx="4571365" cy="1710690"/>
          </a:xfrm>
          <a:prstGeom prst="round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s-PE" altLang="es-ES" sz="2400">
                <a:solidFill>
                  <a:schemeClr val="tx1"/>
                </a:solidFill>
              </a:rPr>
              <a:t>La retroalimentación puede  darse de manera formal o informal, oral o escrita, individual o grupal.</a:t>
            </a:r>
            <a:endParaRPr lang="es-PE" altLang="es-ES" sz="2400"/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72175" y="1211580"/>
            <a:ext cx="3543300" cy="5349240"/>
          </a:xfrm>
          <a:prstGeom prst="rect">
            <a:avLst/>
          </a:prstGeom>
        </p:spPr>
      </p:pic>
      <p:sp>
        <p:nvSpPr>
          <p:cNvPr id="5" name="Flecha derecha 4"/>
          <p:cNvSpPr/>
          <p:nvPr/>
        </p:nvSpPr>
        <p:spPr>
          <a:xfrm>
            <a:off x="3549650" y="4709160"/>
            <a:ext cx="2508250" cy="1009650"/>
          </a:xfrm>
          <a:prstGeom prst="rightArrow">
            <a:avLst/>
          </a:prstGeom>
          <a:solidFill>
            <a:schemeClr val="accent2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altLang="es-ES" sz="1600" b="1"/>
              <a:t>Escrita- Individual</a:t>
            </a:r>
          </a:p>
        </p:txBody>
      </p:sp>
      <p:sp>
        <p:nvSpPr>
          <p:cNvPr id="6" name="Rectángulo redondeado 5"/>
          <p:cNvSpPr/>
          <p:nvPr/>
        </p:nvSpPr>
        <p:spPr>
          <a:xfrm>
            <a:off x="456565" y="3954780"/>
            <a:ext cx="2943860" cy="272097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altLang="es-ES" sz="2000">
                <a:solidFill>
                  <a:schemeClr val="tx1"/>
                </a:solidFill>
              </a:rPr>
              <a:t>En la modalidad a   distancia , podemos retroalimentar de manera sincrónica y/o asincrónica, utilizando diversos medios.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es-PE" smtClean="0"/>
              <a:t>2</a:t>
            </a:fld>
            <a:endParaRPr lang="es-PE"/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 rotWithShape="1">
          <a:blip r:embed="rId3" cstate="screen">
            <a:duotone>
              <a:srgbClr val="5B9BD5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80499" y="225524"/>
            <a:ext cx="807648" cy="760140"/>
          </a:xfrm>
          <a:prstGeom prst="rect">
            <a:avLst/>
          </a:prstGeom>
        </p:spPr>
      </p:pic>
      <p:pic>
        <p:nvPicPr>
          <p:cNvPr id="5" name="Picture 2" descr="Resultado de imagen para profesora pn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805502" y="3601291"/>
            <a:ext cx="1987191" cy="24510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Dinámica para la toma de decisiones... - Educacion Socio Emocional ...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2693" y="1328532"/>
            <a:ext cx="2515893" cy="25158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Educación socioemocional para todos los niveles | Aprender digital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8586" y="708775"/>
            <a:ext cx="6420980" cy="57850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3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 flipH="1">
            <a:off x="1799097" y="359373"/>
            <a:ext cx="5764678" cy="492125"/>
          </a:xfrm>
          <a:prstGeom prst="rect">
            <a:avLst/>
          </a:prstGeom>
          <a:noFill/>
          <a:ln w="9525">
            <a:noFill/>
            <a:miter lim="800000"/>
          </a:ln>
          <a:effectLst/>
        </p:spPr>
        <p:txBody>
          <a:bodyPr wrap="square" lIns="0" tIns="0" rIns="0" bIns="0">
            <a:spAutoFit/>
          </a:bodyPr>
          <a:lstStyle/>
          <a:p>
            <a:pPr defTabSz="793115">
              <a:spcBef>
                <a:spcPts val="1305"/>
              </a:spcBef>
              <a:spcAft>
                <a:spcPts val="1305"/>
              </a:spcAft>
            </a:pPr>
            <a:r>
              <a:rPr lang="es-PE" altLang="es-ES" sz="3200" b="1" kern="1200" dirty="0">
                <a:solidFill>
                  <a:srgbClr val="44546A">
                    <a:lumMod val="75000"/>
                  </a:srgbClr>
                </a:solidFill>
                <a:latin typeface="Roboto Slab Bold" pitchFamily="2" charset="0"/>
                <a:ea typeface="Roboto Slab Bold" pitchFamily="2" charset="0"/>
                <a:cs typeface="Roboto Slab Light"/>
              </a:rPr>
              <a:t>Pausas Activas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B4B4D-7CA3-9044-876B-883B54F8677D}" type="slidenum">
              <a:rPr lang="es-PE" smtClean="0"/>
              <a:t>20</a:t>
            </a:fld>
            <a:endParaRPr lang="es-PE"/>
          </a:p>
        </p:txBody>
      </p:sp>
      <p:pic>
        <p:nvPicPr>
          <p:cNvPr id="13" name="Picture 4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4270" y="23495"/>
            <a:ext cx="5906770" cy="5791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4" name="Google Shape;194;p23"/>
          <p:cNvSpPr txBox="1">
            <a:spLocks noGrp="1"/>
          </p:cNvSpPr>
          <p:nvPr>
            <p:ph type="title"/>
          </p:nvPr>
        </p:nvSpPr>
        <p:spPr>
          <a:xfrm>
            <a:off x="258860" y="527050"/>
            <a:ext cx="9842700" cy="104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Trebuchet MS" panose="020B0603020202020204"/>
              <a:buNone/>
            </a:pPr>
            <a:r>
              <a:rPr lang="es-PE" altLang="es-ES" b="1">
                <a:solidFill>
                  <a:srgbClr val="0070C0"/>
                </a:solidFill>
              </a:rPr>
              <a:t>FORMAS </a:t>
            </a:r>
            <a:r>
              <a:rPr lang="es-ES" b="1">
                <a:solidFill>
                  <a:srgbClr val="0070C0"/>
                </a:solidFill>
              </a:rPr>
              <a:t> DE RETROALIMENTACIÓN </a:t>
            </a:r>
            <a:endParaRPr b="1">
              <a:solidFill>
                <a:srgbClr val="0070C0"/>
              </a:solidFill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Trebuchet MS" panose="020B0603020202020204"/>
              <a:buNone/>
            </a:pPr>
            <a:r>
              <a:rPr lang="es-ES" sz="2200" b="1">
                <a:solidFill>
                  <a:srgbClr val="0070C0"/>
                </a:solidFill>
              </a:rPr>
              <a:t>R</a:t>
            </a:r>
            <a:r>
              <a:rPr lang="es-PE" altLang="es-ES" sz="2200" b="1">
                <a:solidFill>
                  <a:srgbClr val="0070C0"/>
                </a:solidFill>
              </a:rPr>
              <a:t>VM 094-2020-MINEDU</a:t>
            </a:r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95270" y="1567180"/>
            <a:ext cx="3238500" cy="5326380"/>
          </a:xfrm>
          <a:prstGeom prst="rect">
            <a:avLst/>
          </a:prstGeom>
        </p:spPr>
      </p:pic>
      <p:sp>
        <p:nvSpPr>
          <p:cNvPr id="8" name="Flecha derecha 7"/>
          <p:cNvSpPr/>
          <p:nvPr/>
        </p:nvSpPr>
        <p:spPr>
          <a:xfrm>
            <a:off x="116205" y="3710305"/>
            <a:ext cx="2679065" cy="1403350"/>
          </a:xfrm>
          <a:prstGeom prst="rightArrow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altLang="es-ES" sz="1800">
                <a:solidFill>
                  <a:schemeClr val="tx1"/>
                </a:solidFill>
              </a:rPr>
              <a:t>Oral-individual-sincrónica</a:t>
            </a:r>
          </a:p>
        </p:txBody>
      </p:sp>
      <p:pic>
        <p:nvPicPr>
          <p:cNvPr id="9" name="Imagen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24270" y="1566545"/>
            <a:ext cx="5316220" cy="3129915"/>
          </a:xfrm>
          <a:prstGeom prst="rect">
            <a:avLst/>
          </a:prstGeom>
        </p:spPr>
      </p:pic>
      <p:sp>
        <p:nvSpPr>
          <p:cNvPr id="10" name="Llamada de flecha hacia arriba 9"/>
          <p:cNvSpPr/>
          <p:nvPr/>
        </p:nvSpPr>
        <p:spPr>
          <a:xfrm>
            <a:off x="8938895" y="4696460"/>
            <a:ext cx="2858770" cy="1008380"/>
          </a:xfrm>
          <a:prstGeom prst="upArrowCallou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altLang="es-ES" sz="1800">
                <a:solidFill>
                  <a:schemeClr val="tx1"/>
                </a:solidFill>
              </a:rPr>
              <a:t>Grupal-oral -sincrónica</a:t>
            </a:r>
          </a:p>
        </p:txBody>
      </p:sp>
      <p:sp>
        <p:nvSpPr>
          <p:cNvPr id="11" name="Llamada de flecha hacia arriba 10"/>
          <p:cNvSpPr/>
          <p:nvPr/>
        </p:nvSpPr>
        <p:spPr>
          <a:xfrm>
            <a:off x="6334125" y="4758690"/>
            <a:ext cx="2040890" cy="1297305"/>
          </a:xfrm>
          <a:prstGeom prst="upArrow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altLang="es-ES">
                <a:solidFill>
                  <a:schemeClr val="tx1"/>
                </a:solidFill>
              </a:rPr>
              <a:t>Docente usando un canal de You tube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B4B4D-7CA3-9044-876B-883B54F8677D}" type="slidenum">
              <a:rPr lang="es-PE" smtClean="0"/>
              <a:t>21</a:t>
            </a:fld>
            <a:endParaRPr lang="es-PE"/>
          </a:p>
        </p:txBody>
      </p:sp>
      <p:pic>
        <p:nvPicPr>
          <p:cNvPr id="13" name="Picture 4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4270" y="23495"/>
            <a:ext cx="5906770" cy="5791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4" name="Google Shape;194;p23"/>
          <p:cNvSpPr txBox="1">
            <a:spLocks noGrp="1"/>
          </p:cNvSpPr>
          <p:nvPr>
            <p:ph type="title"/>
          </p:nvPr>
        </p:nvSpPr>
        <p:spPr>
          <a:xfrm>
            <a:off x="486190" y="538480"/>
            <a:ext cx="9842700" cy="104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Trebuchet MS" panose="020B0603020202020204"/>
              <a:buNone/>
            </a:pPr>
            <a:r>
              <a:rPr lang="es-ES" b="1" dirty="0">
                <a:solidFill>
                  <a:srgbClr val="0070C0"/>
                </a:solidFill>
              </a:rPr>
              <a:t>TIPOS DE RETROALIMENTACIÓN </a:t>
            </a:r>
            <a:endParaRPr b="1" dirty="0">
              <a:solidFill>
                <a:srgbClr val="0070C0"/>
              </a:solidFill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Trebuchet MS" panose="020B0603020202020204"/>
              <a:buNone/>
            </a:pPr>
            <a:r>
              <a:rPr lang="es-ES" sz="2200" b="1" dirty="0">
                <a:solidFill>
                  <a:srgbClr val="0070C0"/>
                </a:solidFill>
              </a:rPr>
              <a:t>R</a:t>
            </a:r>
            <a:r>
              <a:rPr lang="es-PE" altLang="es-ES" sz="2200" b="1" dirty="0" err="1">
                <a:solidFill>
                  <a:srgbClr val="0070C0"/>
                </a:solidFill>
              </a:rPr>
              <a:t>úbricas</a:t>
            </a:r>
            <a:r>
              <a:rPr lang="es-PE" altLang="es-ES" sz="2200" b="1" dirty="0">
                <a:solidFill>
                  <a:srgbClr val="0070C0"/>
                </a:solidFill>
              </a:rPr>
              <a:t> de Evaluación del Desempeño Docente </a:t>
            </a:r>
            <a:r>
              <a:rPr lang="es-ES" sz="2200" b="1" dirty="0">
                <a:solidFill>
                  <a:srgbClr val="0070C0"/>
                </a:solidFill>
              </a:rPr>
              <a:t>2019</a:t>
            </a:r>
            <a:endParaRPr sz="2200" b="1" dirty="0">
              <a:solidFill>
                <a:srgbClr val="0070C0"/>
              </a:solidFill>
            </a:endParaRP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7270" y="1412875"/>
            <a:ext cx="4503420" cy="4861560"/>
          </a:xfrm>
          <a:prstGeom prst="rect">
            <a:avLst/>
          </a:prstGeom>
        </p:spPr>
      </p:pic>
      <p:sp>
        <p:nvSpPr>
          <p:cNvPr id="2" name="Rectángulo redondeado 1"/>
          <p:cNvSpPr/>
          <p:nvPr/>
        </p:nvSpPr>
        <p:spPr>
          <a:xfrm>
            <a:off x="486410" y="2125345"/>
            <a:ext cx="4687570" cy="786765"/>
          </a:xfrm>
          <a:prstGeom prst="round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altLang="es-ES" sz="1800" b="1">
                <a:solidFill>
                  <a:schemeClr val="tx1"/>
                </a:solidFill>
              </a:rPr>
              <a:t>RETROALIMENTACIÓN INCORRECTA</a:t>
            </a:r>
          </a:p>
        </p:txBody>
      </p:sp>
      <p:sp>
        <p:nvSpPr>
          <p:cNvPr id="4" name="Rectángulo redondeado 3"/>
          <p:cNvSpPr/>
          <p:nvPr/>
        </p:nvSpPr>
        <p:spPr>
          <a:xfrm>
            <a:off x="361315" y="3337560"/>
            <a:ext cx="5069840" cy="1849120"/>
          </a:xfrm>
          <a:prstGeom prst="roundRect">
            <a:avLst/>
          </a:prstGeom>
          <a:solidFill>
            <a:srgbClr val="FFFF00"/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lvl="0" indent="0" algn="just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ES" b="1">
                <a:sym typeface="+mn-ea"/>
              </a:rPr>
              <a:t>• Es cuando al retroalimentar se le da información errónea al estudiante. </a:t>
            </a:r>
            <a:endParaRPr b="1"/>
          </a:p>
          <a:p>
            <a:pPr marL="0" lvl="0" indent="0" algn="just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ES" b="1">
                <a:sym typeface="+mn-ea"/>
              </a:rPr>
              <a:t>• Es indicar que algo es correcto cuando es incorrecto o viceversa. </a:t>
            </a:r>
            <a:endParaRPr b="1"/>
          </a:p>
          <a:p>
            <a:pPr marL="0" lvl="0" indent="0" algn="just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ES" b="1">
                <a:sym typeface="+mn-ea"/>
              </a:rPr>
              <a:t>• Es cuando no se tiene preparación, seguridad o información suficiente respecto a un conocimiento y se ocasiona confusiones e incertidumbre en el estudiante</a:t>
            </a:r>
            <a:endParaRPr lang="es-ES" altLang="en-US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B4B4D-7CA3-9044-876B-883B54F8677D}" type="slidenum">
              <a:rPr lang="es-PE" smtClean="0"/>
              <a:t>22</a:t>
            </a:fld>
            <a:endParaRPr lang="es-PE"/>
          </a:p>
        </p:txBody>
      </p:sp>
      <p:pic>
        <p:nvPicPr>
          <p:cNvPr id="13" name="Picture 4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4270" y="23495"/>
            <a:ext cx="5906770" cy="5791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4" name="Google Shape;194;p23"/>
          <p:cNvSpPr txBox="1">
            <a:spLocks noGrp="1"/>
          </p:cNvSpPr>
          <p:nvPr>
            <p:ph type="title"/>
          </p:nvPr>
        </p:nvSpPr>
        <p:spPr>
          <a:xfrm>
            <a:off x="486190" y="538480"/>
            <a:ext cx="9842700" cy="104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Trebuchet MS" panose="020B0603020202020204"/>
              <a:buNone/>
            </a:pPr>
            <a:r>
              <a:rPr lang="es-ES" b="1">
                <a:solidFill>
                  <a:srgbClr val="0070C0"/>
                </a:solidFill>
              </a:rPr>
              <a:t>TIPOS DE RETROALIMENTACIÓN </a:t>
            </a:r>
            <a:endParaRPr b="1">
              <a:solidFill>
                <a:srgbClr val="0070C0"/>
              </a:solidFill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Trebuchet MS" panose="020B0603020202020204"/>
              <a:buNone/>
            </a:pPr>
            <a:r>
              <a:rPr lang="es-ES" sz="2200" b="1">
                <a:solidFill>
                  <a:srgbClr val="0070C0"/>
                </a:solidFill>
              </a:rPr>
              <a:t>R</a:t>
            </a:r>
            <a:r>
              <a:rPr lang="es-PE" altLang="es-ES" sz="2200" b="1">
                <a:solidFill>
                  <a:srgbClr val="0070C0"/>
                </a:solidFill>
              </a:rPr>
              <a:t>úbricas de Evaluación del Desempeño Docente </a:t>
            </a:r>
            <a:r>
              <a:rPr lang="es-ES" sz="2200" b="1">
                <a:solidFill>
                  <a:srgbClr val="0070C0"/>
                </a:solidFill>
              </a:rPr>
              <a:t>2019</a:t>
            </a:r>
            <a:endParaRPr sz="2200" b="1">
              <a:solidFill>
                <a:srgbClr val="0070C0"/>
              </a:solidFill>
            </a:endParaRP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83400" y="1395095"/>
            <a:ext cx="4152900" cy="5326380"/>
          </a:xfrm>
          <a:prstGeom prst="rect">
            <a:avLst/>
          </a:prstGeom>
        </p:spPr>
      </p:pic>
      <p:sp>
        <p:nvSpPr>
          <p:cNvPr id="4" name="Rectángulo redondeado 3"/>
          <p:cNvSpPr/>
          <p:nvPr/>
        </p:nvSpPr>
        <p:spPr>
          <a:xfrm>
            <a:off x="923925" y="1962785"/>
            <a:ext cx="4687570" cy="786765"/>
          </a:xfrm>
          <a:prstGeom prst="round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altLang="es-ES" sz="1800" b="1">
                <a:solidFill>
                  <a:schemeClr val="tx1"/>
                </a:solidFill>
              </a:rPr>
              <a:t>RETROALIMENTACIÓN ELEMENTAL</a:t>
            </a:r>
          </a:p>
        </p:txBody>
      </p:sp>
      <p:sp>
        <p:nvSpPr>
          <p:cNvPr id="5" name="Rectángulo redondeado 4"/>
          <p:cNvSpPr/>
          <p:nvPr/>
        </p:nvSpPr>
        <p:spPr>
          <a:xfrm>
            <a:off x="732790" y="3133725"/>
            <a:ext cx="5069840" cy="2411730"/>
          </a:xfrm>
          <a:prstGeom prst="roundRect">
            <a:avLst/>
          </a:prstGeom>
          <a:solidFill>
            <a:srgbClr val="FFFF00"/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lvl="0" indent="0" algn="just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ES" b="1">
                <a:sym typeface="+mn-ea"/>
              </a:rPr>
              <a:t>• Es señalar únicamente si la respuesta o procedimiento que está desarrollando el estudiante es correcta o incorrecta, inclusive cuando se le pregunta, si está seguro o no de su respuesta. </a:t>
            </a:r>
            <a:endParaRPr b="1"/>
          </a:p>
          <a:p>
            <a:pPr marL="0" lvl="0" indent="0" algn="just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ES" b="1">
                <a:sym typeface="+mn-ea"/>
              </a:rPr>
              <a:t>• Es darle la respuesta correcta o bien resolverle el ejercicio. </a:t>
            </a:r>
            <a:endParaRPr b="1"/>
          </a:p>
          <a:p>
            <a:pPr marL="0" lvl="0" indent="0" algn="just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ES" b="1">
                <a:sym typeface="+mn-ea"/>
              </a:rPr>
              <a:t>• Es cuando no se da mayores herramientas para descubrir la respuesta en el estudiante. Solo lo niega o afirma.</a:t>
            </a:r>
            <a:endParaRPr b="1"/>
          </a:p>
          <a:p>
            <a:pPr marL="0" lvl="0" indent="0" algn="just" rtl="0">
              <a:spcBef>
                <a:spcPts val="0"/>
              </a:spcBef>
              <a:spcAft>
                <a:spcPts val="0"/>
              </a:spcAft>
              <a:buNone/>
            </a:pPr>
            <a:endParaRPr lang="es-ES" altLang="en-US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B4B4D-7CA3-9044-876B-883B54F8677D}" type="slidenum">
              <a:rPr lang="es-PE" smtClean="0"/>
              <a:t>23</a:t>
            </a:fld>
            <a:endParaRPr lang="es-PE"/>
          </a:p>
        </p:txBody>
      </p:sp>
      <p:pic>
        <p:nvPicPr>
          <p:cNvPr id="13" name="Picture 4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4270" y="23495"/>
            <a:ext cx="5906770" cy="5791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4" name="Google Shape;194;p23"/>
          <p:cNvSpPr txBox="1">
            <a:spLocks noGrp="1"/>
          </p:cNvSpPr>
          <p:nvPr>
            <p:ph type="title"/>
          </p:nvPr>
        </p:nvSpPr>
        <p:spPr>
          <a:xfrm>
            <a:off x="486190" y="538480"/>
            <a:ext cx="9842700" cy="104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Trebuchet MS" panose="020B0603020202020204"/>
              <a:buNone/>
            </a:pPr>
            <a:r>
              <a:rPr lang="es-ES" b="1">
                <a:solidFill>
                  <a:srgbClr val="0070C0"/>
                </a:solidFill>
              </a:rPr>
              <a:t>TIPOS DE RETROALIMENTACIÓN </a:t>
            </a:r>
            <a:endParaRPr b="1">
              <a:solidFill>
                <a:srgbClr val="0070C0"/>
              </a:solidFill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Trebuchet MS" panose="020B0603020202020204"/>
              <a:buNone/>
            </a:pPr>
            <a:r>
              <a:rPr lang="es-ES" sz="2200" b="1">
                <a:solidFill>
                  <a:srgbClr val="0070C0"/>
                </a:solidFill>
              </a:rPr>
              <a:t>R</a:t>
            </a:r>
            <a:r>
              <a:rPr lang="es-PE" altLang="es-ES" sz="2200" b="1">
                <a:solidFill>
                  <a:srgbClr val="0070C0"/>
                </a:solidFill>
              </a:rPr>
              <a:t>úbricas de Evaluación del Desempeño Docente </a:t>
            </a:r>
            <a:r>
              <a:rPr lang="es-ES" sz="2200" b="1">
                <a:solidFill>
                  <a:srgbClr val="0070C0"/>
                </a:solidFill>
              </a:rPr>
              <a:t>2019</a:t>
            </a:r>
            <a:endParaRPr sz="2200" b="1">
              <a:solidFill>
                <a:srgbClr val="0070C0"/>
              </a:solidFill>
            </a:endParaRPr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56705" y="1498600"/>
            <a:ext cx="4130040" cy="5318760"/>
          </a:xfrm>
          <a:prstGeom prst="rect">
            <a:avLst/>
          </a:prstGeom>
        </p:spPr>
      </p:pic>
      <p:sp>
        <p:nvSpPr>
          <p:cNvPr id="2" name="Rectángulo redondeado 1"/>
          <p:cNvSpPr/>
          <p:nvPr/>
        </p:nvSpPr>
        <p:spPr>
          <a:xfrm>
            <a:off x="923925" y="1962785"/>
            <a:ext cx="4687570" cy="786765"/>
          </a:xfrm>
          <a:prstGeom prst="round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altLang="es-ES" sz="1800" b="1">
                <a:solidFill>
                  <a:schemeClr val="tx1"/>
                </a:solidFill>
              </a:rPr>
              <a:t>RETROALIMENTACIÓN DESCRIPTIVA</a:t>
            </a:r>
          </a:p>
        </p:txBody>
      </p:sp>
      <p:sp>
        <p:nvSpPr>
          <p:cNvPr id="5" name="Rectángulo redondeado 4"/>
          <p:cNvSpPr/>
          <p:nvPr/>
        </p:nvSpPr>
        <p:spPr>
          <a:xfrm>
            <a:off x="923925" y="3181350"/>
            <a:ext cx="5069840" cy="2411730"/>
          </a:xfrm>
          <a:prstGeom prst="roundRect">
            <a:avLst/>
          </a:prstGeom>
          <a:solidFill>
            <a:srgbClr val="FFFF00"/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lvl="0" indent="0" algn="just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ES" b="1">
                <a:sym typeface="+mn-ea"/>
              </a:rPr>
              <a:t> • Es dar elementos de información suficientes para mejorar el trabajo de los estudiantes. </a:t>
            </a:r>
            <a:endParaRPr b="1"/>
          </a:p>
          <a:p>
            <a:pPr marL="0" lvl="0" indent="0" algn="just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ES" b="1">
                <a:sym typeface="+mn-ea"/>
              </a:rPr>
              <a:t>• Es describir los aciertos o dificultades sugiriendo en detalle qué hacer para mejorar. </a:t>
            </a:r>
            <a:endParaRPr b="1"/>
          </a:p>
          <a:p>
            <a:pPr marL="0" lvl="0" indent="0" algn="just" rtl="0">
              <a:spcBef>
                <a:spcPts val="0"/>
              </a:spcBef>
              <a:spcAft>
                <a:spcPts val="0"/>
              </a:spcAft>
              <a:buNone/>
            </a:pPr>
            <a:endParaRPr lang="es-ES" altLang="en-US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CB4B4D-7CA3-9044-876B-883B54F8677D}" type="slidenum">
              <a:rPr lang="es-PE" smtClean="0"/>
              <a:t>24</a:t>
            </a:fld>
            <a:endParaRPr lang="es-PE"/>
          </a:p>
        </p:txBody>
      </p:sp>
      <p:pic>
        <p:nvPicPr>
          <p:cNvPr id="13" name="Picture 4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4270" y="23495"/>
            <a:ext cx="5906770" cy="5791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4" name="Google Shape;194;p23"/>
          <p:cNvSpPr txBox="1">
            <a:spLocks noGrp="1"/>
          </p:cNvSpPr>
          <p:nvPr>
            <p:ph type="title"/>
          </p:nvPr>
        </p:nvSpPr>
        <p:spPr>
          <a:xfrm>
            <a:off x="296325" y="361950"/>
            <a:ext cx="9842700" cy="104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Trebuchet MS" panose="020B0603020202020204"/>
              <a:buNone/>
            </a:pPr>
            <a:r>
              <a:rPr lang="es-ES" b="1">
                <a:solidFill>
                  <a:srgbClr val="0070C0"/>
                </a:solidFill>
              </a:rPr>
              <a:t>TIPOS DE RETROALIMENTACIÓN </a:t>
            </a:r>
            <a:endParaRPr b="1">
              <a:solidFill>
                <a:srgbClr val="0070C0"/>
              </a:solidFill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Trebuchet MS" panose="020B0603020202020204"/>
              <a:buNone/>
            </a:pPr>
            <a:r>
              <a:rPr lang="es-ES" sz="2200" b="1">
                <a:solidFill>
                  <a:srgbClr val="0070C0"/>
                </a:solidFill>
              </a:rPr>
              <a:t>R</a:t>
            </a:r>
            <a:r>
              <a:rPr lang="es-PE" altLang="es-ES" sz="2200" b="1">
                <a:solidFill>
                  <a:srgbClr val="0070C0"/>
                </a:solidFill>
              </a:rPr>
              <a:t>úbricas de Evaluación del Desempeño Docente </a:t>
            </a:r>
            <a:r>
              <a:rPr lang="es-ES" sz="2200" b="1">
                <a:solidFill>
                  <a:srgbClr val="0070C0"/>
                </a:solidFill>
              </a:rPr>
              <a:t>2019</a:t>
            </a:r>
            <a:endParaRPr sz="2200" b="1">
              <a:solidFill>
                <a:srgbClr val="0070C0"/>
              </a:solidFill>
            </a:endParaRPr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 rotWithShape="1">
          <a:blip r:embed="rId3"/>
          <a:srcRect r="5423"/>
          <a:stretch>
            <a:fillRect/>
          </a:stretch>
        </p:blipFill>
        <p:spPr>
          <a:xfrm>
            <a:off x="4910455" y="1322705"/>
            <a:ext cx="7009130" cy="5033645"/>
          </a:xfrm>
          <a:prstGeom prst="rect">
            <a:avLst/>
          </a:prstGeom>
        </p:spPr>
      </p:pic>
      <p:sp>
        <p:nvSpPr>
          <p:cNvPr id="4" name="Rectángulo redondeado 3"/>
          <p:cNvSpPr/>
          <p:nvPr/>
        </p:nvSpPr>
        <p:spPr>
          <a:xfrm>
            <a:off x="296545" y="1920240"/>
            <a:ext cx="4273550" cy="744855"/>
          </a:xfrm>
          <a:prstGeom prst="round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altLang="es-ES" sz="1800" b="1">
                <a:solidFill>
                  <a:schemeClr val="tx1"/>
                </a:solidFill>
              </a:rPr>
              <a:t>RETROALIMENTACIÓN REFLEXIVA O  POR DESCUBRIMIENTO</a:t>
            </a:r>
          </a:p>
        </p:txBody>
      </p:sp>
      <p:sp>
        <p:nvSpPr>
          <p:cNvPr id="5" name="Rectángulo redondeado 4"/>
          <p:cNvSpPr/>
          <p:nvPr/>
        </p:nvSpPr>
        <p:spPr>
          <a:xfrm>
            <a:off x="296545" y="3075305"/>
            <a:ext cx="4195445" cy="2411730"/>
          </a:xfrm>
          <a:prstGeom prst="roundRect">
            <a:avLst/>
          </a:prstGeom>
          <a:solidFill>
            <a:srgbClr val="FFFF00"/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lvl="0" indent="0" algn="just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ES" b="1">
                <a:sym typeface="+mn-ea"/>
              </a:rPr>
              <a:t> • Es guiar a los estudiantes para que sean ellos quienes descubran cómo mejorar su desempeño. </a:t>
            </a:r>
            <a:endParaRPr b="1"/>
          </a:p>
          <a:p>
            <a:pPr marL="0" lvl="0" indent="0" algn="just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ES" b="1">
                <a:sym typeface="+mn-ea"/>
              </a:rPr>
              <a:t>• Es promover la reflexión desde su propio razonamiento para que identifiquen el origen de sus concepciones o errores.   </a:t>
            </a:r>
            <a:endParaRPr b="1"/>
          </a:p>
          <a:p>
            <a:pPr marL="0" lvl="0" indent="0" algn="just" rtl="0">
              <a:spcBef>
                <a:spcPts val="0"/>
              </a:spcBef>
              <a:spcAft>
                <a:spcPts val="0"/>
              </a:spcAft>
              <a:buNone/>
            </a:pPr>
            <a:r>
              <a:rPr lang="es-ES" b="1">
                <a:sym typeface="+mn-ea"/>
              </a:rPr>
              <a:t>• Es considerar las respuestas erróneas de los estudiantes como oportunidades de aprendizaje. </a:t>
            </a:r>
            <a:endParaRPr b="1"/>
          </a:p>
          <a:p>
            <a:pPr marL="0" lvl="0" indent="0" algn="just" rtl="0">
              <a:spcBef>
                <a:spcPts val="0"/>
              </a:spcBef>
              <a:spcAft>
                <a:spcPts val="0"/>
              </a:spcAft>
              <a:buNone/>
            </a:pPr>
            <a:endParaRPr b="1"/>
          </a:p>
          <a:p>
            <a:pPr marL="0" lvl="0" indent="0" algn="just" rtl="0">
              <a:spcBef>
                <a:spcPts val="0"/>
              </a:spcBef>
              <a:spcAft>
                <a:spcPts val="0"/>
              </a:spcAft>
              <a:buNone/>
            </a:pPr>
            <a:endParaRPr lang="es-ES" altLang="en-US"/>
          </a:p>
        </p:txBody>
      </p:sp>
      <p:sp>
        <p:nvSpPr>
          <p:cNvPr id="2" name="Rectángulo 1"/>
          <p:cNvSpPr/>
          <p:nvPr/>
        </p:nvSpPr>
        <p:spPr>
          <a:xfrm>
            <a:off x="5148580" y="6370955"/>
            <a:ext cx="6771005" cy="350520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PE" altLang="es-ES"/>
              <a:t>Posteriormente Miary entrega a la docente la tabla con los reajustes necesarios. 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14068" y="3218392"/>
            <a:ext cx="4496316" cy="2928370"/>
          </a:xfrm>
          <a:prstGeom prst="rect">
            <a:avLst/>
          </a:prstGeom>
        </p:spPr>
      </p:pic>
      <p:sp>
        <p:nvSpPr>
          <p:cNvPr id="5" name="Marcador de número de diapositiva 4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s-ES" sz="1200" smtClean="0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  <a:t>3</a:t>
            </a:fld>
            <a:endParaRPr lang="es-ES" sz="1200">
              <a:solidFill>
                <a:srgbClr val="888888"/>
              </a:solidFill>
              <a:latin typeface="Calibri" panose="020F0502020204030204"/>
              <a:ea typeface="Calibri" panose="020F0502020204030204"/>
              <a:cs typeface="Calibri" panose="020F0502020204030204"/>
              <a:sym typeface="Calibri" panose="020F0502020204030204"/>
            </a:endParaRP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9573" y="160605"/>
            <a:ext cx="5907536" cy="579170"/>
          </a:xfrm>
          <a:prstGeom prst="rect">
            <a:avLst/>
          </a:prstGeom>
        </p:spPr>
      </p:pic>
      <p:sp>
        <p:nvSpPr>
          <p:cNvPr id="8" name="1 Título"/>
          <p:cNvSpPr txBox="1">
            <a:spLocks noGrp="1"/>
          </p:cNvSpPr>
          <p:nvPr>
            <p:ph type="body" idx="2"/>
          </p:nvPr>
        </p:nvSpPr>
        <p:spPr>
          <a:xfrm>
            <a:off x="486074" y="1202658"/>
            <a:ext cx="10684948" cy="1371866"/>
          </a:xfrm>
          <a:prstGeom prst="rect">
            <a:avLst/>
          </a:prstGeom>
          <a:solidFill>
            <a:sysClr val="window" lastClr="FFFFFF"/>
          </a:solidFill>
          <a:ln w="28575" cap="flat" cmpd="sng" algn="ctr">
            <a:solidFill>
              <a:srgbClr val="C00000"/>
            </a:solidFill>
            <a:prstDash val="solid"/>
            <a:miter lim="800000"/>
          </a:ln>
          <a:effectLst/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buClrTx/>
              <a:buSzTx/>
              <a:defRPr/>
            </a:pPr>
            <a:r>
              <a:rPr kumimoji="0" lang="es-PE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lang="es-PE" sz="3200" b="1" dirty="0">
                <a:solidFill>
                  <a:srgbClr val="C00000"/>
                </a:solidFill>
                <a:latin typeface="Calibri" panose="020F0502020204030204"/>
              </a:rPr>
              <a:t>EVALUACIÓN FORMATIVA  </a:t>
            </a:r>
            <a:r>
              <a:rPr kumimoji="0" lang="es-PE" sz="32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Calibri" panose="020F0502020204030204"/>
              </a:rPr>
              <a:t>Y RETROALIMENTACIÓN EN EL MARCO DE LA ESTRATEGIA APRENDO EN CASA.  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Marcador de número de diapositiva 4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spcBef>
                <a:spcPts val="0"/>
              </a:spcBef>
              <a:buSzPct val="25000"/>
              <a:buNone/>
            </a:pPr>
            <a:fld id="{00000000-1234-1234-1234-123412341234}" type="slidenum">
              <a:rPr lang="es-ES" sz="1200" smtClean="0">
                <a:solidFill>
                  <a:srgbClr val="88888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  <a:t>4</a:t>
            </a:fld>
            <a:endParaRPr lang="es-ES" sz="1200">
              <a:solidFill>
                <a:srgbClr val="888888"/>
              </a:solidFill>
              <a:latin typeface="Calibri" panose="020F0502020204030204"/>
              <a:ea typeface="Calibri" panose="020F0502020204030204"/>
              <a:cs typeface="Calibri" panose="020F0502020204030204"/>
              <a:sym typeface="Calibri" panose="020F0502020204030204"/>
            </a:endParaRPr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7288" y="0"/>
            <a:ext cx="5907088" cy="579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1 Título"/>
          <p:cNvSpPr txBox="1"/>
          <p:nvPr/>
        </p:nvSpPr>
        <p:spPr>
          <a:xfrm>
            <a:off x="2168617" y="864550"/>
            <a:ext cx="7854461" cy="2375522"/>
          </a:xfrm>
          <a:prstGeom prst="rect">
            <a:avLst/>
          </a:prstGeom>
          <a:ln w="28575" cap="flat" cmpd="sng" algn="ctr">
            <a:solidFill>
              <a:srgbClr val="C00000"/>
            </a:solidFill>
            <a:prstDash val="soli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425" tIns="91425" rIns="91425" bIns="91425" anchor="b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Calibri" panose="020F0502020204030204"/>
              <a:buNone/>
              <a:defRPr sz="3200" b="0" i="0" u="none" strike="noStrike" cap="none">
                <a:solidFill>
                  <a:schemeClr val="dk1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defRPr>
            </a:lvl1pPr>
            <a:lvl2pPr lvl="1" indent="0">
              <a:spcBef>
                <a:spcPts val="0"/>
              </a:spcBef>
              <a:buNone/>
              <a:defRPr sz="18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lvl="2" indent="0">
              <a:spcBef>
                <a:spcPts val="0"/>
              </a:spcBef>
              <a:buNone/>
              <a:defRPr sz="18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lvl="3" indent="0">
              <a:spcBef>
                <a:spcPts val="0"/>
              </a:spcBef>
              <a:buNone/>
              <a:defRPr sz="18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lvl="4" indent="0">
              <a:spcBef>
                <a:spcPts val="0"/>
              </a:spcBef>
              <a:buNone/>
              <a:defRPr sz="18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lvl="5" indent="0">
              <a:spcBef>
                <a:spcPts val="0"/>
              </a:spcBef>
              <a:buNone/>
              <a:defRPr sz="18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lvl="6" indent="0">
              <a:spcBef>
                <a:spcPts val="0"/>
              </a:spcBef>
              <a:buNone/>
              <a:defRPr sz="18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lvl="7" indent="0">
              <a:spcBef>
                <a:spcPts val="0"/>
              </a:spcBef>
              <a:buNone/>
              <a:defRPr sz="18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lvl="8" indent="0">
              <a:spcBef>
                <a:spcPts val="0"/>
              </a:spcBef>
              <a:buNone/>
              <a:defRPr sz="18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es-PE" sz="2400" b="1" dirty="0">
              <a:solidFill>
                <a:srgbClr val="000000"/>
              </a:solidFill>
              <a:latin typeface="Arial" panose="020B0604020202020204"/>
              <a:ea typeface="+mn-ea"/>
              <a:cs typeface="+mn-cs"/>
              <a:sym typeface="Arial" panose="020B0604020202020204"/>
            </a:endParaRPr>
          </a:p>
        </p:txBody>
      </p:sp>
      <p:sp>
        <p:nvSpPr>
          <p:cNvPr id="8" name="1 Título"/>
          <p:cNvSpPr txBox="1"/>
          <p:nvPr/>
        </p:nvSpPr>
        <p:spPr>
          <a:xfrm>
            <a:off x="2168769" y="3525185"/>
            <a:ext cx="7854461" cy="2449350"/>
          </a:xfrm>
          <a:prstGeom prst="rect">
            <a:avLst/>
          </a:prstGeom>
          <a:ln w="28575" cap="flat" cmpd="sng" algn="ctr">
            <a:solidFill>
              <a:srgbClr val="C00000"/>
            </a:solidFill>
            <a:prstDash val="solid"/>
            <a:miter lim="800000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es-PE" sz="3200" b="1" dirty="0">
              <a:solidFill>
                <a:srgbClr val="C00000"/>
              </a:solidFill>
            </a:endParaRPr>
          </a:p>
          <a:p>
            <a:pPr algn="just"/>
            <a:r>
              <a:rPr lang="es-PE" sz="3200" b="1" dirty="0">
                <a:solidFill>
                  <a:srgbClr val="C00000"/>
                </a:solidFill>
              </a:rPr>
              <a:t>PRODUCTO: </a:t>
            </a:r>
            <a:r>
              <a:rPr lang="es-PE" sz="2800" b="1" dirty="0">
                <a:solidFill>
                  <a:schemeClr val="tx1"/>
                </a:solidFill>
              </a:rPr>
              <a:t>Ideas fuerza </a:t>
            </a:r>
            <a:r>
              <a:rPr lang="es-MX" sz="2800" b="1" dirty="0">
                <a:solidFill>
                  <a:schemeClr val="tx1"/>
                </a:solidFill>
              </a:rPr>
              <a:t>sobre la evaluación formativa</a:t>
            </a:r>
            <a:r>
              <a:rPr lang="es-PE" sz="2800" b="1" kern="0" dirty="0">
                <a:solidFill>
                  <a:srgbClr val="000000"/>
                </a:solidFill>
              </a:rPr>
              <a:t> y Retroalimentación en el marco de la estrategia “Aprendo en casa”.</a:t>
            </a:r>
            <a:endParaRPr lang="es-PE" sz="2800" dirty="0">
              <a:solidFill>
                <a:schemeClr val="tx1"/>
              </a:solidFill>
            </a:endParaRPr>
          </a:p>
        </p:txBody>
      </p:sp>
      <p:sp>
        <p:nvSpPr>
          <p:cNvPr id="2" name="Cuadro de texto 1"/>
          <p:cNvSpPr txBox="1"/>
          <p:nvPr/>
        </p:nvSpPr>
        <p:spPr>
          <a:xfrm>
            <a:off x="2258060" y="1224915"/>
            <a:ext cx="7696835" cy="521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793115"/>
            <a:endParaRPr lang="es-ES" altLang="en-US" sz="2800" b="1" kern="1200" dirty="0">
              <a:solidFill>
                <a:srgbClr val="44546A"/>
              </a:solidFill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Cuadro de texto 2"/>
          <p:cNvSpPr txBox="1"/>
          <p:nvPr/>
        </p:nvSpPr>
        <p:spPr>
          <a:xfrm>
            <a:off x="2259330" y="1358900"/>
            <a:ext cx="7763510" cy="181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793115"/>
            <a:r>
              <a:rPr lang="es-PE" sz="2800" b="1" dirty="0">
                <a:solidFill>
                  <a:srgbClr val="C00000"/>
                </a:solidFill>
                <a:latin typeface="+mn-lt"/>
                <a:sym typeface="+mn-ea"/>
              </a:rPr>
              <a:t>OBJETIVO: </a:t>
            </a:r>
            <a:r>
              <a:rPr lang="es-PE" sz="2800" b="1" dirty="0">
                <a:solidFill>
                  <a:schemeClr val="tx1"/>
                </a:solidFill>
                <a:sym typeface="+mn-ea"/>
              </a:rPr>
              <a:t>Brindar orientaciones sobre la evaluación formativa</a:t>
            </a:r>
            <a:r>
              <a:rPr lang="es-PE" sz="2800" b="1" dirty="0">
                <a:ea typeface="+mn-ea"/>
                <a:cs typeface="+mn-cs"/>
                <a:sym typeface="Arial" panose="020B0604020202020204"/>
              </a:rPr>
              <a:t> y Retroalimentación en el marco de la Estrategia “Aprendo en casa”</a:t>
            </a:r>
            <a:endParaRPr lang="es-PE" sz="2800" b="1" dirty="0">
              <a:solidFill>
                <a:srgbClr val="000000"/>
              </a:solidFill>
              <a:latin typeface="Arial" panose="020B0604020202020204"/>
              <a:ea typeface="+mn-ea"/>
              <a:cs typeface="+mn-cs"/>
              <a:sym typeface="Arial" panose="020B0604020202020204"/>
            </a:endParaRPr>
          </a:p>
          <a:p>
            <a:pPr algn="just" defTabSz="793115"/>
            <a:endParaRPr lang="es-ES" altLang="en-US" sz="2800" b="1" kern="1200" dirty="0">
              <a:solidFill>
                <a:srgbClr val="44546A"/>
              </a:solidFill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uadroTexto 9"/>
          <p:cNvSpPr txBox="1"/>
          <p:nvPr/>
        </p:nvSpPr>
        <p:spPr>
          <a:xfrm>
            <a:off x="426564" y="4483021"/>
            <a:ext cx="6417616" cy="95313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s-ES" b="1" u="sng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 evaluación se realiza teniendo como centro al estudiante </a:t>
            </a:r>
            <a:r>
              <a:rPr lang="es-ES" b="1" dirty="0">
                <a:latin typeface="Arial" panose="020B0604020202020204" pitchFamily="34" charset="0"/>
                <a:cs typeface="Arial" panose="020B0604020202020204" pitchFamily="34" charset="0"/>
              </a:rPr>
              <a:t>y por lo tanto, contribuye a su bienestar reforzando su autoestima, ayudándolo a consolidar una imagen positiva de sí mismo y de confianza en sus posibilidades; en última instancia, motivarlo a seguir aprendiendo. </a:t>
            </a:r>
          </a:p>
        </p:txBody>
      </p:sp>
      <p:sp>
        <p:nvSpPr>
          <p:cNvPr id="7" name="Globo: línea doblada doble 6"/>
          <p:cNvSpPr/>
          <p:nvPr/>
        </p:nvSpPr>
        <p:spPr>
          <a:xfrm>
            <a:off x="8939917" y="3416980"/>
            <a:ext cx="2996588" cy="1710614"/>
          </a:xfrm>
          <a:prstGeom prst="borderCallout3">
            <a:avLst>
              <a:gd name="adj1" fmla="val 18750"/>
              <a:gd name="adj2" fmla="val -8333"/>
              <a:gd name="adj3" fmla="val 18750"/>
              <a:gd name="adj4" fmla="val -16667"/>
              <a:gd name="adj5" fmla="val 68071"/>
              <a:gd name="adj6" fmla="val -63361"/>
              <a:gd name="adj7" fmla="val 20338"/>
              <a:gd name="adj8" fmla="val -16571"/>
            </a:avLst>
          </a:prstGeom>
          <a:solidFill>
            <a:srgbClr val="FFD44B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s-ES" dirty="0">
                <a:solidFill>
                  <a:schemeClr val="tx1"/>
                </a:solidFill>
              </a:rPr>
              <a:t>Debemos tener</a:t>
            </a:r>
            <a:r>
              <a:rPr lang="es-ES" b="1" dirty="0">
                <a:solidFill>
                  <a:schemeClr val="tx1"/>
                </a:solidFill>
              </a:rPr>
              <a:t> ALTAS EXPECTATIVAS en nuestros estudiantes</a:t>
            </a:r>
            <a:r>
              <a:rPr lang="es-ES" dirty="0">
                <a:solidFill>
                  <a:schemeClr val="tx1"/>
                </a:solidFill>
              </a:rPr>
              <a:t>, que es la confianza en que adecuadamente  motivados son capaces de aprender.</a:t>
            </a:r>
          </a:p>
        </p:txBody>
      </p:sp>
      <p:sp>
        <p:nvSpPr>
          <p:cNvPr id="13" name="CuadroTexto 12"/>
          <p:cNvSpPr txBox="1"/>
          <p:nvPr/>
        </p:nvSpPr>
        <p:spPr>
          <a:xfrm>
            <a:off x="382648" y="5436230"/>
            <a:ext cx="7499429" cy="73723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s-ES" b="1" dirty="0">
                <a:latin typeface="Arial" panose="020B0604020202020204" pitchFamily="34" charset="0"/>
                <a:cs typeface="Arial" panose="020B0604020202020204" pitchFamily="34" charset="0"/>
              </a:rPr>
              <a:t>Es </a:t>
            </a:r>
            <a:r>
              <a:rPr lang="es-ES" b="1" u="sng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nalidad de la evaluación contribuir al desarrollo de las competencias de los estudiantes </a:t>
            </a:r>
            <a:r>
              <a:rPr lang="es-ES" b="1" dirty="0">
                <a:latin typeface="Arial" panose="020B0604020202020204" pitchFamily="34" charset="0"/>
                <a:cs typeface="Arial" panose="020B0604020202020204" pitchFamily="34" charset="0"/>
              </a:rPr>
              <a:t>y, como fin último, a los aprendizajes del Perfil de egreso de la Educación Básica </a:t>
            </a:r>
            <a:r>
              <a:rPr lang="es-ES" b="1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s-E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4" name="Marcador de contenido 8"/>
          <p:cNvGraphicFramePr/>
          <p:nvPr/>
        </p:nvGraphicFramePr>
        <p:xfrm>
          <a:off x="382905" y="234950"/>
          <a:ext cx="9521825" cy="42481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5" name="Imagen 1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76959" y="2048512"/>
            <a:ext cx="993258" cy="950745"/>
          </a:xfrm>
          <a:prstGeom prst="rect">
            <a:avLst/>
          </a:prstGeom>
        </p:spPr>
      </p:pic>
      <p:pic>
        <p:nvPicPr>
          <p:cNvPr id="16" name="Imagen 15" descr="Perfil de egreso de la Educación Básica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40435" y="620103"/>
            <a:ext cx="2747785" cy="2509621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Flecha curvada hacia arriba 16"/>
          <p:cNvSpPr/>
          <p:nvPr/>
        </p:nvSpPr>
        <p:spPr>
          <a:xfrm rot="20732925">
            <a:off x="6575425" y="2381885"/>
            <a:ext cx="2795905" cy="996950"/>
          </a:xfrm>
          <a:prstGeom prst="curvedUpArrow">
            <a:avLst/>
          </a:prstGeom>
          <a:solidFill>
            <a:srgbClr val="C00000"/>
          </a:solidFill>
          <a:ln>
            <a:solidFill>
              <a:srgbClr val="CC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PE">
              <a:solidFill>
                <a:schemeClr val="tx1"/>
              </a:solidFill>
            </a:endParaRPr>
          </a:p>
        </p:txBody>
      </p:sp>
      <p:sp>
        <p:nvSpPr>
          <p:cNvPr id="18" name="Rectángulo 17"/>
          <p:cNvSpPr/>
          <p:nvPr/>
        </p:nvSpPr>
        <p:spPr>
          <a:xfrm>
            <a:off x="113030" y="427990"/>
            <a:ext cx="4102735" cy="5219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PE" sz="2800" b="1" u="sng" dirty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es-PE" sz="2800" b="1" u="sng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uación Formativa</a:t>
            </a:r>
            <a:r>
              <a:rPr lang="es-PE" b="1" u="sng" dirty="0" smtClean="0">
                <a:solidFill>
                  <a:srgbClr val="7030A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s-ES" dirty="0">
              <a:solidFill>
                <a:srgbClr val="7030A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1" name="Picture 4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72450" y="110722"/>
            <a:ext cx="5907088" cy="579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Rectángulo 18"/>
          <p:cNvSpPr/>
          <p:nvPr/>
        </p:nvSpPr>
        <p:spPr>
          <a:xfrm>
            <a:off x="6844095" y="6042532"/>
            <a:ext cx="5063338" cy="600164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 wrap="square">
            <a:spAutoFit/>
          </a:bodyPr>
          <a:lstStyle/>
          <a:p>
            <a:pPr algn="just"/>
            <a:r>
              <a:rPr lang="es-PE" sz="1100" b="1" dirty="0">
                <a:solidFill>
                  <a:schemeClr val="bg1"/>
                </a:solidFill>
              </a:rPr>
              <a:t>5.1.1 </a:t>
            </a:r>
            <a:r>
              <a:rPr lang="es-ES" sz="1100" b="1" dirty="0">
                <a:solidFill>
                  <a:schemeClr val="bg1"/>
                </a:solidFill>
                <a:cs typeface="Arial" panose="020B0604020202020204" pitchFamily="34" charset="0"/>
              </a:rPr>
              <a:t>DISPOSICIONES PARA LA EVALUACIÓN DE LA </a:t>
            </a:r>
            <a:r>
              <a:rPr lang="es-ES" sz="1100" b="1" dirty="0" smtClean="0">
                <a:solidFill>
                  <a:schemeClr val="bg1"/>
                </a:solidFill>
                <a:cs typeface="Arial" panose="020B0604020202020204" pitchFamily="34" charset="0"/>
              </a:rPr>
              <a:t>COMPETENCIA </a:t>
            </a:r>
            <a:r>
              <a:rPr lang="es-ES" sz="1100" b="1" dirty="0" smtClean="0">
                <a:solidFill>
                  <a:schemeClr val="bg1"/>
                </a:solidFill>
              </a:rPr>
              <a:t>RVM </a:t>
            </a:r>
            <a:r>
              <a:rPr lang="es-PE" sz="1100" b="1" dirty="0">
                <a:solidFill>
                  <a:schemeClr val="bg1"/>
                </a:solidFill>
              </a:rPr>
              <a:t>N° </a:t>
            </a:r>
            <a:r>
              <a:rPr lang="es-PE" sz="1100" b="1" dirty="0" smtClean="0">
                <a:solidFill>
                  <a:schemeClr val="bg1"/>
                </a:solidFill>
              </a:rPr>
              <a:t>094-2020-MINEDU </a:t>
            </a:r>
            <a:r>
              <a:rPr lang="es-PE" sz="1100" b="1" dirty="0">
                <a:solidFill>
                  <a:schemeClr val="bg1"/>
                </a:solidFill>
              </a:rPr>
              <a:t>“Norma que regula la Evaluación de las competencias de los Estudiantes de Educación Básica</a:t>
            </a:r>
            <a:r>
              <a:rPr lang="es-PE" sz="1100" b="1" dirty="0" smtClean="0">
                <a:solidFill>
                  <a:schemeClr val="bg1"/>
                </a:solidFill>
              </a:rPr>
              <a:t>”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" name="Cuadro de texto 1"/>
          <p:cNvSpPr txBox="1"/>
          <p:nvPr/>
        </p:nvSpPr>
        <p:spPr>
          <a:xfrm>
            <a:off x="4476750" y="689610"/>
            <a:ext cx="139509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793115"/>
            <a:r>
              <a:rPr lang="es-PE" altLang="es-ES" sz="1800" b="1" kern="1200" dirty="0">
                <a:solidFill>
                  <a:schemeClr val="tx1"/>
                </a:solidFill>
                <a:latin typeface="Calibri" panose="020F0502020204030204"/>
                <a:ea typeface="+mn-ea"/>
                <a:cs typeface="+mn-cs"/>
              </a:rPr>
              <a:t>Sistemático</a:t>
            </a:r>
          </a:p>
        </p:txBody>
      </p:sp>
      <p:sp>
        <p:nvSpPr>
          <p:cNvPr id="3" name="Cuadro de texto 2"/>
          <p:cNvSpPr txBox="1"/>
          <p:nvPr/>
        </p:nvSpPr>
        <p:spPr>
          <a:xfrm>
            <a:off x="2592070" y="2048510"/>
            <a:ext cx="139509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793115"/>
            <a:r>
              <a:rPr lang="es-PE" altLang="es-ES" sz="1800" b="1" kern="1200" dirty="0">
                <a:solidFill>
                  <a:schemeClr val="tx1"/>
                </a:solidFill>
                <a:latin typeface="Calibri" panose="020F0502020204030204"/>
                <a:ea typeface="+mn-ea"/>
                <a:cs typeface="+mn-cs"/>
              </a:rPr>
              <a:t>Permanente</a:t>
            </a:r>
          </a:p>
        </p:txBody>
      </p:sp>
      <p:sp>
        <p:nvSpPr>
          <p:cNvPr id="4" name="Cuadro de texto 3"/>
          <p:cNvSpPr txBox="1"/>
          <p:nvPr/>
        </p:nvSpPr>
        <p:spPr>
          <a:xfrm>
            <a:off x="6178550" y="1679575"/>
            <a:ext cx="1120140" cy="7372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793115"/>
            <a:r>
              <a:rPr lang="es-PE" altLang="es-ES" b="1" kern="1200" dirty="0">
                <a:solidFill>
                  <a:schemeClr val="tx1"/>
                </a:solidFill>
                <a:latin typeface="Calibri" panose="020F0502020204030204"/>
                <a:ea typeface="+mn-ea"/>
                <a:cs typeface="+mn-cs"/>
              </a:rPr>
              <a:t>Recopila y analiza información</a:t>
            </a:r>
          </a:p>
        </p:txBody>
      </p:sp>
      <p:sp>
        <p:nvSpPr>
          <p:cNvPr id="5" name="Cuadro de texto 4"/>
          <p:cNvSpPr txBox="1"/>
          <p:nvPr/>
        </p:nvSpPr>
        <p:spPr>
          <a:xfrm>
            <a:off x="3434715" y="3711575"/>
            <a:ext cx="1395095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793115"/>
            <a:r>
              <a:rPr lang="es-PE" altLang="es-ES" sz="1600" b="1" kern="1200" dirty="0">
                <a:solidFill>
                  <a:schemeClr val="tx1"/>
                </a:solidFill>
                <a:latin typeface="Calibri" panose="020F0502020204030204"/>
                <a:ea typeface="+mn-ea"/>
                <a:cs typeface="+mn-cs"/>
              </a:rPr>
              <a:t>Competencia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BA207-6058-486D-9E16-BC05CC68AB43}" type="slidenum">
              <a:rPr lang="es-PE" smtClean="0">
                <a:solidFill>
                  <a:prstClr val="black"/>
                </a:solidFill>
              </a:rPr>
              <a:t>6</a:t>
            </a:fld>
            <a:endParaRPr lang="es-PE">
              <a:solidFill>
                <a:prstClr val="black"/>
              </a:solidFill>
            </a:endParaRPr>
          </a:p>
        </p:txBody>
      </p:sp>
      <p:sp>
        <p:nvSpPr>
          <p:cNvPr id="3" name="Rectángulo 2"/>
          <p:cNvSpPr/>
          <p:nvPr/>
        </p:nvSpPr>
        <p:spPr>
          <a:xfrm>
            <a:off x="1977995" y="1070745"/>
            <a:ext cx="9654582" cy="583565"/>
          </a:xfrm>
          <a:prstGeom prst="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es-ES" sz="1600" b="1" u="sng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 </a:t>
            </a:r>
            <a:r>
              <a:rPr lang="es-ES" sz="1600" b="1" u="sng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foque utilizado para la evaluación de competencias es siempre formativo, </a:t>
            </a:r>
            <a:r>
              <a:rPr lang="es-ES" sz="1600" b="1" u="sng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nto si </a:t>
            </a:r>
            <a:r>
              <a:rPr lang="es-ES" sz="1600" b="1" u="sng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 fin es la evaluación para el aprendizaje como si es la evaluación </a:t>
            </a:r>
            <a:r>
              <a:rPr lang="es-ES" sz="1600" b="1" u="sng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l aprendizaje</a:t>
            </a:r>
            <a:r>
              <a:rPr lang="es-ES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</p:txBody>
      </p:sp>
      <p:sp>
        <p:nvSpPr>
          <p:cNvPr id="4" name="Rectángulo 3"/>
          <p:cNvSpPr/>
          <p:nvPr/>
        </p:nvSpPr>
        <p:spPr>
          <a:xfrm>
            <a:off x="1513148" y="2335348"/>
            <a:ext cx="2703793" cy="1213609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2000" b="1" dirty="0"/>
              <a:t>Evaluación para el aprendizaje</a:t>
            </a:r>
          </a:p>
          <a:p>
            <a:pPr algn="ctr"/>
            <a:r>
              <a:rPr lang="es-PE" sz="2000" b="1" dirty="0"/>
              <a:t>(retroalimentación)</a:t>
            </a:r>
          </a:p>
        </p:txBody>
      </p:sp>
      <p:sp>
        <p:nvSpPr>
          <p:cNvPr id="5" name="Flecha izquierda y derecha 4"/>
          <p:cNvSpPr/>
          <p:nvPr/>
        </p:nvSpPr>
        <p:spPr>
          <a:xfrm>
            <a:off x="4519760" y="2479221"/>
            <a:ext cx="3606085" cy="830247"/>
          </a:xfrm>
          <a:prstGeom prst="leftRightArrow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2400" b="1" dirty="0">
                <a:solidFill>
                  <a:schemeClr val="tx1"/>
                </a:solidFill>
              </a:rPr>
              <a:t>EVALUACIÓN</a:t>
            </a:r>
          </a:p>
        </p:txBody>
      </p:sp>
      <p:sp>
        <p:nvSpPr>
          <p:cNvPr id="6" name="Rectángulo 5"/>
          <p:cNvSpPr/>
          <p:nvPr/>
        </p:nvSpPr>
        <p:spPr>
          <a:xfrm>
            <a:off x="8333276" y="2268533"/>
            <a:ext cx="2742074" cy="1069736"/>
          </a:xfrm>
          <a:prstGeom prst="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sz="2000" b="1" dirty="0">
                <a:solidFill>
                  <a:schemeClr val="bg1">
                    <a:lumMod val="95000"/>
                  </a:schemeClr>
                </a:solidFill>
              </a:rPr>
              <a:t>Evaluación del</a:t>
            </a:r>
          </a:p>
          <a:p>
            <a:pPr algn="ctr"/>
            <a:r>
              <a:rPr lang="es-PE" sz="2000" b="1" dirty="0">
                <a:solidFill>
                  <a:schemeClr val="bg1">
                    <a:lumMod val="95000"/>
                  </a:schemeClr>
                </a:solidFill>
              </a:rPr>
              <a:t>aprendizaje</a:t>
            </a:r>
          </a:p>
          <a:p>
            <a:pPr algn="ctr"/>
            <a:r>
              <a:rPr lang="es-PE" sz="2000" b="1" dirty="0">
                <a:solidFill>
                  <a:schemeClr val="bg1">
                    <a:lumMod val="95000"/>
                  </a:schemeClr>
                </a:solidFill>
              </a:rPr>
              <a:t>(certificadora)</a:t>
            </a:r>
          </a:p>
        </p:txBody>
      </p:sp>
      <p:pic>
        <p:nvPicPr>
          <p:cNvPr id="7" name="Imagen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81" y="907617"/>
            <a:ext cx="1305352" cy="2815831"/>
          </a:xfrm>
          <a:prstGeom prst="rect">
            <a:avLst/>
          </a:prstGeom>
        </p:spPr>
      </p:pic>
      <p:sp>
        <p:nvSpPr>
          <p:cNvPr id="8" name="Rectángulo 7"/>
          <p:cNvSpPr/>
          <p:nvPr/>
        </p:nvSpPr>
        <p:spPr>
          <a:xfrm>
            <a:off x="8126095" y="3549015"/>
            <a:ext cx="3001010" cy="181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ES" dirty="0" smtClean="0"/>
              <a:t>Se determina el </a:t>
            </a:r>
            <a:r>
              <a:rPr lang="es-ES" dirty="0"/>
              <a:t>nivel de logro que un estudiante ha alcanzado en las competenc</a:t>
            </a:r>
            <a:r>
              <a:rPr lang="es-ES" dirty="0">
                <a:sym typeface="+mn-ea"/>
              </a:rPr>
              <a:t>manera </a:t>
            </a:r>
            <a:r>
              <a:rPr lang="es-ES" dirty="0"/>
              <a:t>ias hasta </a:t>
            </a:r>
            <a:r>
              <a:rPr lang="es-ES" dirty="0" smtClean="0"/>
              <a:t>un momento </a:t>
            </a:r>
            <a:r>
              <a:rPr lang="es-ES" dirty="0"/>
              <a:t>específico y de acuerdo con lo establecido por el docente según las</a:t>
            </a:r>
          </a:p>
          <a:p>
            <a:pPr algn="just"/>
            <a:r>
              <a:rPr lang="es-ES" dirty="0"/>
              <a:t>necesidades de aprendizaje del estudiante. </a:t>
            </a:r>
            <a:endParaRPr lang="en-US" dirty="0"/>
          </a:p>
        </p:txBody>
      </p:sp>
      <p:sp>
        <p:nvSpPr>
          <p:cNvPr id="9" name="Rectángulo 8"/>
          <p:cNvSpPr/>
          <p:nvPr/>
        </p:nvSpPr>
        <p:spPr>
          <a:xfrm>
            <a:off x="834574" y="3844126"/>
            <a:ext cx="4061656" cy="22453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ES" dirty="0" smtClean="0"/>
              <a:t>El estudiante:</a:t>
            </a:r>
          </a:p>
          <a:p>
            <a:pPr marL="0" indent="0" algn="just"/>
            <a:r>
              <a:rPr lang="es-ES" dirty="0" smtClean="0"/>
              <a:t>reconoce </a:t>
            </a:r>
            <a:r>
              <a:rPr lang="es-ES" dirty="0"/>
              <a:t>sus fortalezas, dificultades y necesidades y, en consecuencia, </a:t>
            </a:r>
            <a:r>
              <a:rPr lang="es-ES" dirty="0" smtClean="0"/>
              <a:t>gestiona su aprendizaje </a:t>
            </a:r>
            <a:r>
              <a:rPr lang="es-ES" dirty="0"/>
              <a:t>de </a:t>
            </a:r>
            <a:r>
              <a:rPr lang="es-ES" dirty="0" smtClean="0"/>
              <a:t>autónoma.</a:t>
            </a:r>
          </a:p>
          <a:p>
            <a:pPr algn="just"/>
            <a:r>
              <a:rPr lang="es-ES" dirty="0" smtClean="0"/>
              <a:t>El docente:</a:t>
            </a:r>
            <a:r>
              <a:rPr lang="es-ES" dirty="0"/>
              <a:t> evalúa</a:t>
            </a:r>
          </a:p>
          <a:p>
            <a:pPr algn="just"/>
            <a:r>
              <a:rPr lang="es-ES" dirty="0"/>
              <a:t>constantemente todo lo que permita una retroalimentación del desarrollo de </a:t>
            </a:r>
            <a:r>
              <a:rPr lang="es-ES" dirty="0" smtClean="0"/>
              <a:t>la competencia</a:t>
            </a:r>
            <a:r>
              <a:rPr lang="es-ES" dirty="0"/>
              <a:t>: los recursos, una combinación de estos, una capacidad y </a:t>
            </a:r>
            <a:r>
              <a:rPr lang="es-ES" dirty="0" smtClean="0"/>
              <a:t>una competencia, para </a:t>
            </a:r>
            <a:r>
              <a:rPr lang="es-ES" dirty="0"/>
              <a:t>mejorar sus </a:t>
            </a:r>
            <a:r>
              <a:rPr lang="es-ES" dirty="0" smtClean="0"/>
              <a:t>procesos de enseñanza.</a:t>
            </a:r>
            <a:endParaRPr lang="en-US" dirty="0"/>
          </a:p>
        </p:txBody>
      </p:sp>
      <p:pic>
        <p:nvPicPr>
          <p:cNvPr id="15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31040" y="153689"/>
            <a:ext cx="5907088" cy="579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" name="Marcador de contenido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22912" y="3179119"/>
            <a:ext cx="1726346" cy="1845863"/>
          </a:xfrm>
          <a:prstGeom prst="ellipse">
            <a:avLst/>
          </a:prstGeom>
        </p:spPr>
      </p:pic>
      <p:sp>
        <p:nvSpPr>
          <p:cNvPr id="18" name="Rectángulo 17"/>
          <p:cNvSpPr/>
          <p:nvPr/>
        </p:nvSpPr>
        <p:spPr>
          <a:xfrm>
            <a:off x="7859845" y="5865758"/>
            <a:ext cx="4244412" cy="768350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 wrap="square">
            <a:spAutoFit/>
          </a:bodyPr>
          <a:lstStyle/>
          <a:p>
            <a:pPr algn="just"/>
            <a:r>
              <a:rPr lang="es-PE" sz="1100" b="1" dirty="0">
                <a:solidFill>
                  <a:schemeClr val="bg1"/>
                </a:solidFill>
              </a:rPr>
              <a:t>5.1.1 </a:t>
            </a:r>
            <a:r>
              <a:rPr lang="es-ES" sz="1100" b="1" dirty="0">
                <a:solidFill>
                  <a:schemeClr val="bg1"/>
                </a:solidFill>
                <a:cs typeface="Arial" panose="020B0604020202020204" pitchFamily="34" charset="0"/>
              </a:rPr>
              <a:t>DISPOSICIONES PARA LA EVALUACIÓN DE LA </a:t>
            </a:r>
            <a:r>
              <a:rPr lang="es-ES" sz="1100" b="1" dirty="0" smtClean="0">
                <a:solidFill>
                  <a:schemeClr val="bg1"/>
                </a:solidFill>
                <a:cs typeface="Arial" panose="020B0604020202020204" pitchFamily="34" charset="0"/>
              </a:rPr>
              <a:t>COMPETENCIA </a:t>
            </a:r>
            <a:r>
              <a:rPr lang="es-ES" sz="1100" b="1" dirty="0" smtClean="0">
                <a:solidFill>
                  <a:schemeClr val="bg1"/>
                </a:solidFill>
              </a:rPr>
              <a:t>RVM </a:t>
            </a:r>
            <a:r>
              <a:rPr lang="es-PE" sz="1100" b="1" dirty="0">
                <a:solidFill>
                  <a:schemeClr val="bg1"/>
                </a:solidFill>
              </a:rPr>
              <a:t>N° </a:t>
            </a:r>
            <a:r>
              <a:rPr lang="es-PE" sz="1100" b="1" dirty="0" smtClean="0">
                <a:solidFill>
                  <a:schemeClr val="bg1"/>
                </a:solidFill>
              </a:rPr>
              <a:t>094-2020-MINEDU </a:t>
            </a:r>
            <a:r>
              <a:rPr lang="es-PE" sz="1100" b="1" dirty="0">
                <a:solidFill>
                  <a:schemeClr val="bg1"/>
                </a:solidFill>
              </a:rPr>
              <a:t>“Norma que regula la Evaluación de las competencias de los Estudiantes de Educación Básica</a:t>
            </a:r>
            <a:r>
              <a:rPr lang="es-PE" sz="1100" b="1" dirty="0" smtClean="0">
                <a:solidFill>
                  <a:schemeClr val="bg1"/>
                </a:solidFill>
              </a:rPr>
              <a:t>”</a:t>
            </a:r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19" name="Rectángulo redondeado 18"/>
          <p:cNvSpPr/>
          <p:nvPr/>
        </p:nvSpPr>
        <p:spPr>
          <a:xfrm>
            <a:off x="5059062" y="4938750"/>
            <a:ext cx="2734654" cy="1319089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PE" dirty="0" smtClean="0"/>
              <a:t>Ambos deben formar parte integral en la planificación de las experiencia de aprendizaje.</a:t>
            </a:r>
            <a:endParaRPr lang="es-P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Diagrama 12"/>
          <p:cNvGraphicFramePr/>
          <p:nvPr/>
        </p:nvGraphicFramePr>
        <p:xfrm>
          <a:off x="560121" y="580003"/>
          <a:ext cx="10906698" cy="55951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4" name="Rectángulo redondeado 1"/>
          <p:cNvSpPr/>
          <p:nvPr/>
        </p:nvSpPr>
        <p:spPr>
          <a:xfrm>
            <a:off x="8201248" y="1419547"/>
            <a:ext cx="2370492" cy="708338"/>
          </a:xfrm>
          <a:prstGeom prst="roundRect">
            <a:avLst/>
          </a:prstGeom>
          <a:solidFill>
            <a:srgbClr val="FFFF00"/>
          </a:solidFill>
          <a:ln w="12700" cap="flat" cmpd="sng" algn="ctr">
            <a:solidFill>
              <a:srgbClr val="FFC00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s-PE" sz="20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Propósito de aprendizaje</a:t>
            </a:r>
          </a:p>
        </p:txBody>
      </p:sp>
      <p:sp>
        <p:nvSpPr>
          <p:cNvPr id="15" name="Rectángulo redondeado 9"/>
          <p:cNvSpPr/>
          <p:nvPr/>
        </p:nvSpPr>
        <p:spPr>
          <a:xfrm>
            <a:off x="9676656" y="4641264"/>
            <a:ext cx="1790163" cy="519382"/>
          </a:xfrm>
          <a:prstGeom prst="roundRect">
            <a:avLst/>
          </a:prstGeom>
          <a:solidFill>
            <a:srgbClr val="66FFFF"/>
          </a:solidFill>
          <a:ln w="12700" cap="flat" cmpd="sng" algn="ctr">
            <a:solidFill>
              <a:srgbClr val="0070C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s-PE" sz="2000" b="1" i="1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+mn-ea"/>
                <a:cs typeface="+mn-cs"/>
              </a:rPr>
              <a:t>Evidencias</a:t>
            </a:r>
          </a:p>
        </p:txBody>
      </p:sp>
      <p:sp>
        <p:nvSpPr>
          <p:cNvPr id="16" name="Rectángulo redondeado 11"/>
          <p:cNvSpPr/>
          <p:nvPr/>
        </p:nvSpPr>
        <p:spPr>
          <a:xfrm>
            <a:off x="1297656" y="5249498"/>
            <a:ext cx="2734517" cy="708338"/>
          </a:xfrm>
          <a:prstGeom prst="round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PE" sz="2000" b="1" i="1" dirty="0">
                <a:solidFill>
                  <a:schemeClr val="tx1"/>
                </a:solidFill>
              </a:rPr>
              <a:t>Retroalimentación</a:t>
            </a:r>
          </a:p>
        </p:txBody>
      </p:sp>
      <p:sp>
        <p:nvSpPr>
          <p:cNvPr id="2" name="Flecha: hacia abajo 1"/>
          <p:cNvSpPr/>
          <p:nvPr/>
        </p:nvSpPr>
        <p:spPr>
          <a:xfrm>
            <a:off x="10460515" y="5207341"/>
            <a:ext cx="264405" cy="407624"/>
          </a:xfrm>
          <a:prstGeom prst="downArrow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FF0000"/>
              </a:solidFill>
            </a:endParaRPr>
          </a:p>
        </p:txBody>
      </p:sp>
      <p:sp>
        <p:nvSpPr>
          <p:cNvPr id="17" name="Rectángulo redondeado 9"/>
          <p:cNvSpPr/>
          <p:nvPr/>
        </p:nvSpPr>
        <p:spPr>
          <a:xfrm>
            <a:off x="8813494" y="5664761"/>
            <a:ext cx="3294043" cy="842702"/>
          </a:xfrm>
          <a:prstGeom prst="roundRect">
            <a:avLst/>
          </a:prstGeom>
          <a:solidFill>
            <a:srgbClr val="66FFFF"/>
          </a:solidFill>
          <a:ln w="12700" cap="flat" cmpd="sng" algn="ctr">
            <a:solidFill>
              <a:srgbClr val="0070C0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es-PE" sz="2000" b="1" i="1" kern="0" dirty="0">
                <a:solidFill>
                  <a:prstClr val="black"/>
                </a:solidFill>
              </a:rPr>
              <a:t>Nivel de logro que alcanzó en la competencia</a:t>
            </a:r>
            <a:endParaRPr kumimoji="0" lang="es-PE" sz="2000" b="1" i="1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8" name="Rectángulo 17"/>
          <p:cNvSpPr/>
          <p:nvPr/>
        </p:nvSpPr>
        <p:spPr>
          <a:xfrm>
            <a:off x="236268" y="6075073"/>
            <a:ext cx="6264120" cy="600164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 wrap="square">
            <a:spAutoFit/>
          </a:bodyPr>
          <a:lstStyle/>
          <a:p>
            <a:pPr algn="just"/>
            <a:r>
              <a:rPr lang="es-PE" sz="1100" b="1" dirty="0" smtClean="0">
                <a:solidFill>
                  <a:schemeClr val="bg1"/>
                </a:solidFill>
              </a:rPr>
              <a:t>5.1.1.2 </a:t>
            </a:r>
            <a:r>
              <a:rPr lang="es-ES" sz="1100" b="1" dirty="0" smtClean="0">
                <a:solidFill>
                  <a:schemeClr val="bg1"/>
                </a:solidFill>
                <a:cs typeface="Arial" panose="020B0604020202020204" pitchFamily="34" charset="0"/>
              </a:rPr>
              <a:t>IMPLEMENTACIÓN DE LA EVALUACIÓN PARA EL APRENDIZAJE </a:t>
            </a:r>
            <a:r>
              <a:rPr lang="es-ES" sz="1100" b="1" dirty="0" smtClean="0">
                <a:solidFill>
                  <a:schemeClr val="bg1"/>
                </a:solidFill>
              </a:rPr>
              <a:t>RVM </a:t>
            </a:r>
            <a:r>
              <a:rPr lang="es-PE" sz="1100" b="1" dirty="0">
                <a:solidFill>
                  <a:schemeClr val="bg1"/>
                </a:solidFill>
              </a:rPr>
              <a:t>N° </a:t>
            </a:r>
            <a:r>
              <a:rPr lang="es-PE" sz="1100" b="1" dirty="0" smtClean="0">
                <a:solidFill>
                  <a:schemeClr val="bg1"/>
                </a:solidFill>
              </a:rPr>
              <a:t>094-2020-MINEDU </a:t>
            </a:r>
            <a:r>
              <a:rPr lang="es-PE" sz="1100" b="1" dirty="0">
                <a:solidFill>
                  <a:schemeClr val="bg1"/>
                </a:solidFill>
              </a:rPr>
              <a:t>“Norma que regula la Evaluación de las competencias de los Estudiantes de Educación Básica</a:t>
            </a:r>
            <a:r>
              <a:rPr lang="es-PE" sz="1100" b="1" dirty="0" smtClean="0">
                <a:solidFill>
                  <a:schemeClr val="bg1"/>
                </a:solidFill>
              </a:rPr>
              <a:t>”</a:t>
            </a:r>
            <a:endParaRPr lang="en-US" sz="1100" dirty="0">
              <a:solidFill>
                <a:schemeClr val="tx1"/>
              </a:solidFill>
            </a:endParaRPr>
          </a:p>
        </p:txBody>
      </p:sp>
      <p:pic>
        <p:nvPicPr>
          <p:cNvPr id="19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0449" y="130620"/>
            <a:ext cx="5907088" cy="579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Imagen 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642" y="379951"/>
            <a:ext cx="2210943" cy="25348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/>
          <p:cNvSpPr/>
          <p:nvPr/>
        </p:nvSpPr>
        <p:spPr>
          <a:xfrm>
            <a:off x="372105" y="617242"/>
            <a:ext cx="5600345" cy="7372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ES" b="1" dirty="0"/>
              <a:t>La evaluación formativa debe darse de manera continua durante todo el periodo lectivo para lo cual, se pueden utilizar las siguientes preguntas de manera secuencial: </a:t>
            </a:r>
            <a:endParaRPr lang="en-US" b="1" dirty="0"/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3293" y="3521415"/>
            <a:ext cx="3093499" cy="3093499"/>
          </a:xfrm>
          <a:prstGeom prst="rect">
            <a:avLst/>
          </a:prstGeom>
        </p:spPr>
      </p:pic>
      <p:graphicFrame>
        <p:nvGraphicFramePr>
          <p:cNvPr id="4" name="Diagrama 3"/>
          <p:cNvGraphicFramePr/>
          <p:nvPr/>
        </p:nvGraphicFramePr>
        <p:xfrm>
          <a:off x="1320236" y="1021490"/>
          <a:ext cx="8128000" cy="38053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72450" y="110722"/>
            <a:ext cx="5907088" cy="579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ángulo 5"/>
          <p:cNvSpPr/>
          <p:nvPr/>
        </p:nvSpPr>
        <p:spPr>
          <a:xfrm>
            <a:off x="5972450" y="4739117"/>
            <a:ext cx="541233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ES" b="1" dirty="0"/>
              <a:t>A partir de estos propósitos el docente debe comunicar a sus estudiantes los criterios con los que serán evaluados y promover su </a:t>
            </a:r>
            <a:r>
              <a:rPr lang="es-ES" b="1" dirty="0" smtClean="0"/>
              <a:t>comprensión.</a:t>
            </a:r>
            <a:endParaRPr lang="en-US" b="1" dirty="0"/>
          </a:p>
        </p:txBody>
      </p:sp>
      <p:sp>
        <p:nvSpPr>
          <p:cNvPr id="7" name="Rectángulo 6"/>
          <p:cNvSpPr/>
          <p:nvPr/>
        </p:nvSpPr>
        <p:spPr>
          <a:xfrm>
            <a:off x="7796980" y="5875283"/>
            <a:ext cx="4244412" cy="768350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 wrap="square">
            <a:spAutoFit/>
          </a:bodyPr>
          <a:lstStyle/>
          <a:p>
            <a:pPr algn="just"/>
            <a:r>
              <a:rPr lang="es-PE" sz="1100" b="1" dirty="0" smtClean="0">
                <a:solidFill>
                  <a:schemeClr val="bg1"/>
                </a:solidFill>
              </a:rPr>
              <a:t>5.1.1.2 </a:t>
            </a:r>
            <a:r>
              <a:rPr lang="es-ES" sz="1100" b="1" dirty="0" smtClean="0">
                <a:solidFill>
                  <a:schemeClr val="bg1"/>
                </a:solidFill>
                <a:cs typeface="Arial" panose="020B0604020202020204" pitchFamily="34" charset="0"/>
              </a:rPr>
              <a:t>IMPLEMENTACIÓN DE LA EVALUACIÓN PARA EL APRENDIZAJE </a:t>
            </a:r>
            <a:r>
              <a:rPr lang="es-ES" sz="1100" b="1" dirty="0" smtClean="0">
                <a:solidFill>
                  <a:schemeClr val="bg1"/>
                </a:solidFill>
              </a:rPr>
              <a:t>RVM </a:t>
            </a:r>
            <a:r>
              <a:rPr lang="es-PE" sz="1100" b="1" dirty="0">
                <a:solidFill>
                  <a:schemeClr val="bg1"/>
                </a:solidFill>
              </a:rPr>
              <a:t>N° </a:t>
            </a:r>
            <a:r>
              <a:rPr lang="es-PE" sz="1100" b="1" dirty="0" smtClean="0">
                <a:solidFill>
                  <a:schemeClr val="bg1"/>
                </a:solidFill>
              </a:rPr>
              <a:t>094-2020-MINEDU </a:t>
            </a:r>
            <a:r>
              <a:rPr lang="es-PE" sz="1100" b="1" dirty="0">
                <a:solidFill>
                  <a:schemeClr val="bg1"/>
                </a:solidFill>
              </a:rPr>
              <a:t>“Norma que regula la Evaluación de las competencias de los Estudiantes de Educación Básica</a:t>
            </a:r>
            <a:r>
              <a:rPr lang="es-PE" sz="1100" b="1" dirty="0" smtClean="0">
                <a:solidFill>
                  <a:schemeClr val="bg1"/>
                </a:solidFill>
              </a:rPr>
              <a:t>”</a:t>
            </a:r>
            <a:endParaRPr lang="en-US" sz="11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a 2"/>
          <p:cNvGraphicFramePr/>
          <p:nvPr/>
        </p:nvGraphicFramePr>
        <p:xfrm>
          <a:off x="157780" y="733067"/>
          <a:ext cx="9501973" cy="510660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4912" y="150293"/>
            <a:ext cx="5907088" cy="579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Rectángulo 6"/>
          <p:cNvSpPr/>
          <p:nvPr/>
        </p:nvSpPr>
        <p:spPr>
          <a:xfrm>
            <a:off x="406479" y="5197535"/>
            <a:ext cx="11379043" cy="7372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" dirty="0"/>
              <a:t>Las experiencias de aprendizaje planteadas deben cumplir dos condiciones: </a:t>
            </a:r>
          </a:p>
          <a:p>
            <a:r>
              <a:rPr lang="es-ES" dirty="0"/>
              <a:t> </a:t>
            </a:r>
            <a:r>
              <a:rPr lang="es-ES" dirty="0" smtClean="0"/>
              <a:t>• </a:t>
            </a:r>
            <a:r>
              <a:rPr lang="es-PE" altLang="es-ES" dirty="0" smtClean="0"/>
              <a:t>Q</a:t>
            </a:r>
            <a:r>
              <a:rPr lang="es-ES" dirty="0"/>
              <a:t>ue demanden emplear competencias, lo que implica que no pueden ser afrontadas en periodos breves de tiempo dada su complejidad; </a:t>
            </a:r>
            <a:endParaRPr lang="es-ES" dirty="0" smtClean="0"/>
          </a:p>
          <a:p>
            <a:r>
              <a:rPr lang="es-ES" dirty="0" smtClean="0"/>
              <a:t> </a:t>
            </a:r>
            <a:r>
              <a:rPr lang="es-ES" dirty="0"/>
              <a:t>• </a:t>
            </a:r>
            <a:r>
              <a:rPr lang="es-PE" altLang="es-ES" dirty="0"/>
              <a:t>Q</a:t>
            </a:r>
            <a:r>
              <a:rPr lang="es-ES" dirty="0"/>
              <a:t>ue, en la medida de lo necesario y lo posible, reproduzcan o reflejen la realidad</a:t>
            </a:r>
            <a:endParaRPr lang="en-US" dirty="0"/>
          </a:p>
        </p:txBody>
      </p:sp>
      <p:sp>
        <p:nvSpPr>
          <p:cNvPr id="8" name="Rectángulo 7"/>
          <p:cNvSpPr/>
          <p:nvPr/>
        </p:nvSpPr>
        <p:spPr>
          <a:xfrm>
            <a:off x="7694431" y="6000538"/>
            <a:ext cx="4244412" cy="768350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 wrap="square">
            <a:spAutoFit/>
          </a:bodyPr>
          <a:lstStyle/>
          <a:p>
            <a:pPr algn="just"/>
            <a:r>
              <a:rPr lang="es-PE" sz="1100" b="1" dirty="0" smtClean="0">
                <a:solidFill>
                  <a:schemeClr val="bg1"/>
                </a:solidFill>
              </a:rPr>
              <a:t>5.1.1.2 </a:t>
            </a:r>
            <a:r>
              <a:rPr lang="es-ES" sz="1100" b="1" dirty="0" smtClean="0">
                <a:solidFill>
                  <a:schemeClr val="bg1"/>
                </a:solidFill>
                <a:cs typeface="Arial" panose="020B0604020202020204" pitchFamily="34" charset="0"/>
              </a:rPr>
              <a:t>IMPLEMENTACIÓN DE LA EVALUACIÓN PARA EL APRENDIZAJE </a:t>
            </a:r>
            <a:r>
              <a:rPr lang="es-ES" sz="1100" b="1" dirty="0" smtClean="0">
                <a:solidFill>
                  <a:schemeClr val="bg1"/>
                </a:solidFill>
              </a:rPr>
              <a:t>RVM </a:t>
            </a:r>
            <a:r>
              <a:rPr lang="es-PE" sz="1100" b="1" dirty="0">
                <a:solidFill>
                  <a:schemeClr val="bg1"/>
                </a:solidFill>
              </a:rPr>
              <a:t>N° </a:t>
            </a:r>
            <a:r>
              <a:rPr lang="es-PE" sz="1100" b="1" dirty="0" smtClean="0">
                <a:solidFill>
                  <a:schemeClr val="bg1"/>
                </a:solidFill>
              </a:rPr>
              <a:t>094-2020-MINEDU </a:t>
            </a:r>
            <a:r>
              <a:rPr lang="es-PE" sz="1100" b="1" dirty="0">
                <a:solidFill>
                  <a:schemeClr val="bg1"/>
                </a:solidFill>
              </a:rPr>
              <a:t>“Norma que regula la Evaluación de las competencias de los Estudiantes de Educación Básica</a:t>
            </a:r>
            <a:r>
              <a:rPr lang="es-PE" sz="1100" b="1" dirty="0" smtClean="0">
                <a:solidFill>
                  <a:schemeClr val="bg1"/>
                </a:solidFill>
              </a:rPr>
              <a:t>”</a:t>
            </a:r>
            <a:endParaRPr lang="en-US" sz="1100" dirty="0">
              <a:solidFill>
                <a:schemeClr val="tx1"/>
              </a:solidFill>
            </a:endParaRPr>
          </a:p>
        </p:txBody>
      </p:sp>
      <p:pic>
        <p:nvPicPr>
          <p:cNvPr id="9" name="Imagen 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87990" y="1512606"/>
            <a:ext cx="2275773" cy="2946074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p3mXSBWFkWeK5mCoa3G4A"/>
</p:tagLst>
</file>

<file path=ppt/theme/theme1.xml><?xml version="1.0" encoding="utf-8"?>
<a:theme xmlns:a="http://schemas.openxmlformats.org/drawingml/2006/main" name="Tema de Offic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just" defTabSz="793115">
          <a:defRPr lang="es-ES" sz="2800" b="1" kern="1200" dirty="0">
            <a:solidFill>
              <a:srgbClr val="44546A"/>
            </a:solidFill>
            <a:latin typeface="Calibri" panose="020F0502020204030204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ustom Theme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8</TotalTime>
  <Words>1702</Words>
  <Application>Microsoft Office PowerPoint</Application>
  <PresentationFormat>Personalizado</PresentationFormat>
  <Paragraphs>151</Paragraphs>
  <Slides>24</Slides>
  <Notes>0</Notes>
  <HiddenSlides>0</HiddenSlides>
  <MMClips>0</MMClips>
  <ScaleCrop>false</ScaleCrop>
  <HeadingPairs>
    <vt:vector size="4" baseType="variant">
      <vt:variant>
        <vt:lpstr>Tema</vt:lpstr>
      </vt:variant>
      <vt:variant>
        <vt:i4>1</vt:i4>
      </vt:variant>
      <vt:variant>
        <vt:lpstr>Títulos de diapositiva</vt:lpstr>
      </vt:variant>
      <vt:variant>
        <vt:i4>24</vt:i4>
      </vt:variant>
    </vt:vector>
  </HeadingPairs>
  <TitlesOfParts>
    <vt:vector size="25" baseType="lpstr">
      <vt:lpstr>Tema de Offic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FORMAS  DE RETROALIMENTACIÓN  RVM 094-2020-MINEDU</vt:lpstr>
      <vt:lpstr>FORMAS  DE RETROALIMENTACIÓN  RVM 094-2020-MINEDU</vt:lpstr>
      <vt:lpstr>TIPOS DE RETROALIMENTACIÓN  Rúbricas de Evaluación del Desempeño Docente 2019</vt:lpstr>
      <vt:lpstr>TIPOS DE RETROALIMENTACIÓN  Rúbricas de Evaluación del Desempeño Docente 2019</vt:lpstr>
      <vt:lpstr>TIPOS DE RETROALIMENTACIÓN  Rúbricas de Evaluación del Desempeño Docente 2019</vt:lpstr>
      <vt:lpstr>TIPOS DE RETROALIMENTACIÓN  Rúbricas de Evaluación del Desempeño Docente 2019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PC</dc:creator>
  <cp:lastModifiedBy>PC-RODY</cp:lastModifiedBy>
  <cp:revision>16</cp:revision>
  <dcterms:created xsi:type="dcterms:W3CDTF">2020-08-06T20:33:00Z</dcterms:created>
  <dcterms:modified xsi:type="dcterms:W3CDTF">2020-09-14T20:30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3082-11.2.0.9453</vt:lpwstr>
  </property>
</Properties>
</file>